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80" r:id="rId4"/>
    <p:sldId id="279" r:id="rId5"/>
    <p:sldId id="281" r:id="rId6"/>
    <p:sldId id="284" r:id="rId7"/>
    <p:sldId id="283" r:id="rId8"/>
    <p:sldId id="272" r:id="rId9"/>
    <p:sldId id="285" r:id="rId10"/>
    <p:sldId id="290" r:id="rId11"/>
    <p:sldId id="292" r:id="rId12"/>
    <p:sldId id="293" r:id="rId13"/>
    <p:sldId id="294" r:id="rId14"/>
    <p:sldId id="295" r:id="rId15"/>
    <p:sldId id="301" r:id="rId16"/>
    <p:sldId id="299" r:id="rId17"/>
    <p:sldId id="296" r:id="rId18"/>
    <p:sldId id="298" r:id="rId19"/>
    <p:sldId id="274" r:id="rId20"/>
    <p:sldId id="289" r:id="rId21"/>
    <p:sldId id="276" r:id="rId22"/>
    <p:sldId id="277" r:id="rId23"/>
  </p:sldIdLst>
  <p:sldSz cx="9144000" cy="5143500" type="screen16x9"/>
  <p:notesSz cx="6858000" cy="9144000"/>
  <p:embeddedFontLst>
    <p:embeddedFont>
      <p:font typeface="Consolas" panose="020B0609020204030204" pitchFamily="49" charset="0"/>
      <p:regular r:id="rId25"/>
      <p:bold r:id="rId26"/>
      <p:italic r:id="rId27"/>
      <p:boldItalic r:id="rId28"/>
    </p:embeddedFont>
    <p:embeddedFont>
      <p:font typeface="Fira Sans Extra Condensed" panose="020F0502020204030204" pitchFamily="34" charset="0"/>
      <p:regular r:id="rId29"/>
      <p:bold r:id="rId30"/>
    </p:embeddedFont>
    <p:embeddedFont>
      <p:font typeface="Lato" panose="020F0502020204030203" pitchFamily="34" charset="0"/>
      <p:regular r:id="rId31"/>
      <p:bold r:id="rId32"/>
      <p:italic r:id="rId33"/>
      <p:boldItalic r:id="rId34"/>
    </p:embeddedFont>
    <p:embeddedFont>
      <p:font typeface="Quattrocento Sans" panose="020B0502050000020003" pitchFamily="34" charset="0"/>
      <p:regular r:id="rId35"/>
      <p:bold r:id="rId36"/>
      <p:italic r:id="rId37"/>
      <p:boldItalic r:id="rId38"/>
    </p:embeddedFont>
    <p:embeddedFont>
      <p:font typeface="Raleway" pitchFamily="2" charset="77"/>
      <p:regular r:id="rId39"/>
      <p:bold r:id="rId40"/>
      <p:italic r:id="rId41"/>
      <p:boldItalic r:id="rId42"/>
    </p:embeddedFont>
    <p:embeddedFont>
      <p:font typeface="Segoe UI" panose="020B0502040204020203" pitchFamily="34" charset="0"/>
      <p:regular r:id="rId43"/>
      <p:bold r:id="rId44"/>
      <p:italic r:id="rId45"/>
      <p:boldItalic r:id="rId4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7" roundtripDataSignature="AMtx7mjofXbxT34CihpWmhhqKf+e3nBZo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75D"/>
    <a:srgbClr val="DEE1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1"/>
    <p:restoredTop sz="94737"/>
  </p:normalViewPr>
  <p:slideViewPr>
    <p:cSldViewPr snapToGrid="0">
      <p:cViewPr>
        <p:scale>
          <a:sx n="150" d="100"/>
          <a:sy n="150" d="100"/>
        </p:scale>
        <p:origin x="760" y="3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customschemas.google.com/relationships/presentationmetadata" Target="metadata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5.fntdata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font" Target="fonts/font21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font" Target="fonts/font2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font" Target="fonts/font19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font" Target="fonts/font22.fntdata"/><Relationship Id="rId20" Type="http://schemas.openxmlformats.org/officeDocument/2006/relationships/slide" Target="slides/slide19.xml"/><Relationship Id="rId41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modeedna/Desktop/NLP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2"/>
                </a:solidFill>
              </a:rPr>
              <a:t>Performa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Performanc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D31-4743-884C-AE7D6E66AC7C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D31-4743-884C-AE7D6E66AC7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D31-4743-884C-AE7D6E66AC7C}"/>
              </c:ext>
            </c:extLst>
          </c:dPt>
          <c:val>
            <c:numRef>
              <c:f>Sheet1!$A$2:$A$4</c:f>
              <c:numCache>
                <c:formatCode>General</c:formatCode>
                <c:ptCount val="3"/>
                <c:pt idx="0">
                  <c:v>3</c:v>
                </c:pt>
                <c:pt idx="1">
                  <c:v>4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D31-4743-884C-AE7D6E66AC7C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Ratin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CD31-4743-884C-AE7D6E66AC7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CD31-4743-884C-AE7D6E66AC7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CD31-4743-884C-AE7D6E66AC7C}"/>
              </c:ext>
            </c:extLst>
          </c:dP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D31-4743-884C-AE7D6E66AC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486089238845146"/>
          <c:y val="0.87324402158063574"/>
          <c:w val="0.16402799650043745"/>
          <c:h val="0.119669364246135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0"/>
        <a:lstStyle/>
        <a:p>
          <a:pPr rtl="0"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" name="Google Shape;4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15074a4f0c2_0_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Google Shape;90;g15074a4f0c2_0_7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51148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Google Shape;598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599" name="Google Shape;599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04" name="Google Shape;604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873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8196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817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9" name="Google Shape;499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" name="Google Shape;4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10783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Google Shape;558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9" name="Google Shape;559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rgbClr val="0E1B3C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oogle Shape;9;p25"/>
          <p:cNvGrpSpPr/>
          <p:nvPr/>
        </p:nvGrpSpPr>
        <p:grpSpPr>
          <a:xfrm>
            <a:off x="830392" y="1191256"/>
            <a:ext cx="745763" cy="45826"/>
            <a:chOff x="4580561" y="2589004"/>
            <a:chExt cx="1064464" cy="25200"/>
          </a:xfrm>
        </p:grpSpPr>
        <p:sp>
          <p:nvSpPr>
            <p:cNvPr id="10" name="Google Shape;10;p25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1;p25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" name="Google Shape;12;p25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13" name="Google Shape;13;p25"/>
          <p:cNvSpPr txBox="1">
            <a:spLocks noGrp="1"/>
          </p:cNvSpPr>
          <p:nvPr>
            <p:ph type="subTitle" idx="1"/>
          </p:nvPr>
        </p:nvSpPr>
        <p:spPr>
          <a:xfrm>
            <a:off x="729627" y="3172900"/>
            <a:ext cx="7688100" cy="5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25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6"/>
          <p:cNvSpPr/>
          <p:nvPr/>
        </p:nvSpPr>
        <p:spPr>
          <a:xfrm>
            <a:off x="1" y="0"/>
            <a:ext cx="367685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p26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 2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oogle Shape;19;p27"/>
          <p:cNvGrpSpPr/>
          <p:nvPr/>
        </p:nvGrpSpPr>
        <p:grpSpPr>
          <a:xfrm>
            <a:off x="452387" y="998750"/>
            <a:ext cx="745763" cy="45826"/>
            <a:chOff x="4580561" y="2589004"/>
            <a:chExt cx="1064464" cy="25200"/>
          </a:xfrm>
        </p:grpSpPr>
        <p:sp>
          <p:nvSpPr>
            <p:cNvPr id="20" name="Google Shape;20;p27"/>
            <p:cNvSpPr/>
            <p:nvPr/>
          </p:nvSpPr>
          <p:spPr>
            <a:xfrm rot="-5400000">
              <a:off x="5366325" y="2335504"/>
              <a:ext cx="25200" cy="532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21;p27"/>
            <p:cNvSpPr/>
            <p:nvPr/>
          </p:nvSpPr>
          <p:spPr>
            <a:xfrm rot="-5400000">
              <a:off x="4836311" y="2333254"/>
              <a:ext cx="25200" cy="536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22;p27"/>
          <p:cNvSpPr txBox="1"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9pPr>
          </a:lstStyle>
          <a:p>
            <a:endParaRPr/>
          </a:p>
        </p:txBody>
      </p:sp>
      <p:sp>
        <p:nvSpPr>
          <p:cNvPr id="23" name="Google Shape;23;p27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 4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29"/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29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bg>
      <p:bgPr>
        <a:solidFill>
          <a:srgbClr val="0E1B3C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0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6" name="Google Shape;36;p30"/>
          <p:cNvCxnSpPr/>
          <p:nvPr/>
        </p:nvCxnSpPr>
        <p:spPr>
          <a:xfrm>
            <a:off x="4572000" y="-126612"/>
            <a:ext cx="0" cy="5528603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1_Title and body 5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31"/>
          <p:cNvSpPr/>
          <p:nvPr/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39;p31"/>
          <p:cNvSpPr/>
          <p:nvPr/>
        </p:nvSpPr>
        <p:spPr>
          <a:xfrm>
            <a:off x="8664575" y="487950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treamline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2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Raleway"/>
              <a:buNone/>
              <a:defRPr sz="28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2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Lato"/>
              <a:buChar char="●"/>
              <a:defRPr sz="13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●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○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Lato"/>
              <a:buChar char="■"/>
              <a:defRPr sz="1100" b="0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hyperlink" Target="https://towardsdatascience.com/building-a-python-code-generator-4b476eec5804" TargetMode="Externa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2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34.png"/><Relationship Id="rId4" Type="http://schemas.openxmlformats.org/officeDocument/2006/relationships/image" Target="../media/image13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chart" Target="../charts/chart1.xml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10" Type="http://schemas.openxmlformats.org/officeDocument/2006/relationships/image" Target="../media/image42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13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6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5.svg"/><Relationship Id="rId1" Type="http://schemas.openxmlformats.org/officeDocument/2006/relationships/tags" Target="../tags/tag1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4" Type="http://schemas.openxmlformats.org/officeDocument/2006/relationships/image" Target="../media/image13.emf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https://www.youtube.com/embed/tG8PPne7ef0?feature=oembed" TargetMode="External"/><Relationship Id="rId1" Type="http://schemas.openxmlformats.org/officeDocument/2006/relationships/tags" Target="../tags/tag2.xml"/><Relationship Id="rId6" Type="http://schemas.openxmlformats.org/officeDocument/2006/relationships/image" Target="../media/image26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Python Script Generation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1"/>
          <p:cNvSpPr txBox="1">
            <a:spLocks noGrp="1"/>
          </p:cNvSpPr>
          <p:nvPr>
            <p:ph type="subTitle" idx="1"/>
          </p:nvPr>
        </p:nvSpPr>
        <p:spPr>
          <a:xfrm>
            <a:off x="727950" y="2154800"/>
            <a:ext cx="7688100" cy="5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Eduardo Armenta, Landon Carpenter, Matthew Moriarty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1 </a:t>
            </a:r>
          </a:p>
        </p:txBody>
      </p:sp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08388" y="1459088"/>
            <a:ext cx="3598243" cy="3627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btain data</a:t>
            </a:r>
          </a:p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We obtained approximately 5,000 samples of Python text data from </a:t>
            </a:r>
            <a:r>
              <a:rPr lang="en-US" sz="1200" b="0" i="1" dirty="0">
                <a:latin typeface="Arial"/>
                <a:cs typeface="Arial"/>
              </a:rPr>
              <a:t>this repository*</a:t>
            </a:r>
          </a:p>
          <a:p>
            <a:pPr>
              <a:buSzPct val="150000"/>
            </a:pPr>
            <a:endParaRPr lang="en-US" sz="400" b="0" i="1" dirty="0">
              <a:latin typeface="Arial"/>
              <a:cs typeface="Arial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The data itself is made up of a collection of prompts and their coded solutions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endParaRPr lang="en-US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SzPct val="150000"/>
            </a:pPr>
            <a:r>
              <a:rPr lang="en-US" sz="1200" b="0" dirty="0">
                <a:latin typeface="Consolas"/>
                <a:cs typeface="Consolas" panose="020B0609020204030204" pitchFamily="49" charset="0"/>
              </a:rPr>
              <a:t># write a python function to add two user provided numbers and return the sum</a:t>
            </a:r>
          </a:p>
          <a:p>
            <a:pPr>
              <a:buSzPct val="150000"/>
            </a:pPr>
            <a:r>
              <a:rPr lang="en-US" sz="1200" b="0" dirty="0">
                <a:latin typeface="Consolas"/>
                <a:cs typeface="Consolas" panose="020B0609020204030204" pitchFamily="49" charset="0"/>
              </a:rPr>
              <a:t>def add_two_numbers(num1, num2):</a:t>
            </a:r>
          </a:p>
          <a:p>
            <a:pPr>
              <a:buSzPct val="150000"/>
            </a:pPr>
            <a:r>
              <a:rPr lang="en-US" sz="1200" b="0" dirty="0">
                <a:latin typeface="Consolas"/>
                <a:cs typeface="Consolas" panose="020B0609020204030204" pitchFamily="49" charset="0"/>
              </a:rPr>
              <a:t>    sum = num1 + num2</a:t>
            </a:r>
          </a:p>
          <a:p>
            <a:pPr>
              <a:buSzPct val="150000"/>
            </a:pPr>
            <a:r>
              <a:rPr lang="en-US" sz="1200" b="0" dirty="0">
                <a:latin typeface="Consolas"/>
                <a:cs typeface="Consolas" panose="020B0609020204030204" pitchFamily="49" charset="0"/>
              </a:rPr>
              <a:t>    return sum</a:t>
            </a:r>
          </a:p>
          <a:p>
            <a:endParaRPr lang="en-US" sz="1200" b="0" dirty="0">
              <a:latin typeface="Consolas"/>
              <a:cs typeface="Consolas" panose="020B0609020204030204" pitchFamily="49" charset="0"/>
            </a:endParaRPr>
          </a:p>
          <a:p>
            <a:endParaRPr lang="en-US" sz="1200" b="0" dirty="0">
              <a:latin typeface="Consolas"/>
              <a:cs typeface="Consolas" panose="020B0609020204030204" pitchFamily="49" charset="0"/>
            </a:endParaRPr>
          </a:p>
          <a:p>
            <a:endParaRPr lang="en-US" sz="1200" b="0" dirty="0">
              <a:latin typeface="Consolas"/>
              <a:cs typeface="Consolas" panose="020B0609020204030204" pitchFamily="49" charset="0"/>
            </a:endParaRPr>
          </a:p>
          <a:p>
            <a:endParaRPr lang="en-US" sz="1200" b="0" dirty="0">
              <a:latin typeface="Consolas"/>
              <a:cs typeface="Consolas" panose="020B0609020204030204" pitchFamily="49" charset="0"/>
            </a:endParaRPr>
          </a:p>
          <a:p>
            <a:endParaRPr lang="en-US" sz="1200" b="0" dirty="0">
              <a:latin typeface="Consolas"/>
              <a:cs typeface="Consolas" panose="020B0609020204030204" pitchFamily="49" charset="0"/>
            </a:endParaRPr>
          </a:p>
          <a:p>
            <a:endParaRPr lang="en-US" sz="1200" b="0" dirty="0">
              <a:latin typeface="Consolas"/>
              <a:cs typeface="Consolas" panose="020B0609020204030204" pitchFamily="49" charset="0"/>
            </a:endParaRPr>
          </a:p>
          <a:p>
            <a:r>
              <a:rPr lang="en-US" sz="1000" b="0" dirty="0">
                <a:latin typeface="Arial"/>
                <a:cs typeface="Consolas" panose="020B0609020204030204" pitchFamily="49" charset="0"/>
              </a:rPr>
              <a:t>* </a:t>
            </a:r>
            <a:r>
              <a:rPr lang="en-US" sz="1000" b="0" dirty="0">
                <a:latin typeface="Arial"/>
                <a:cs typeface="Consolas" panose="020B0609020204030204" pitchFamily="49" charset="0"/>
                <a:hlinkClick r:id="rId5"/>
              </a:rPr>
              <a:t>Building a Python Code Generator</a:t>
            </a:r>
            <a:endParaRPr lang="en-US" sz="1000" b="0" dirty="0">
              <a:latin typeface="Arial"/>
              <a:cs typeface="Consolas" panose="020B0609020204030204" pitchFamily="49" charset="0"/>
            </a:endParaRPr>
          </a:p>
        </p:txBody>
      </p:sp>
      <p:sp>
        <p:nvSpPr>
          <p:cNvPr id="6" name="Google Shape;336;p19">
            <a:extLst>
              <a:ext uri="{FF2B5EF4-FFF2-40B4-BE49-F238E27FC236}">
                <a16:creationId xmlns:a16="http://schemas.microsoft.com/office/drawing/2014/main" id="{3A46E835-1E6D-22F7-161E-6E2B33500B1E}"/>
              </a:ext>
            </a:extLst>
          </p:cNvPr>
          <p:cNvSpPr/>
          <p:nvPr/>
        </p:nvSpPr>
        <p:spPr>
          <a:xfrm>
            <a:off x="6495888" y="-30149"/>
            <a:ext cx="46774" cy="5203797"/>
          </a:xfrm>
          <a:custGeom>
            <a:avLst/>
            <a:gdLst/>
            <a:ahLst/>
            <a:cxnLst/>
            <a:rect l="l" t="t" r="r" b="b"/>
            <a:pathLst>
              <a:path w="1513" h="166415" extrusionOk="0">
                <a:moveTo>
                  <a:pt x="751" y="1"/>
                </a:moveTo>
                <a:cubicBezTo>
                  <a:pt x="346" y="1"/>
                  <a:pt x="1" y="334"/>
                  <a:pt x="1" y="751"/>
                </a:cubicBezTo>
                <a:lnTo>
                  <a:pt x="1" y="165664"/>
                </a:lnTo>
                <a:cubicBezTo>
                  <a:pt x="1" y="166081"/>
                  <a:pt x="334" y="166414"/>
                  <a:pt x="751" y="166414"/>
                </a:cubicBezTo>
                <a:cubicBezTo>
                  <a:pt x="1167" y="166414"/>
                  <a:pt x="1513" y="166081"/>
                  <a:pt x="1513" y="165664"/>
                </a:cubicBezTo>
                <a:lnTo>
                  <a:pt x="1513" y="751"/>
                </a:lnTo>
                <a:cubicBezTo>
                  <a:pt x="1513" y="334"/>
                  <a:pt x="1167" y="1"/>
                  <a:pt x="75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" name="Google Shape;338;p19">
            <a:extLst>
              <a:ext uri="{FF2B5EF4-FFF2-40B4-BE49-F238E27FC236}">
                <a16:creationId xmlns:a16="http://schemas.microsoft.com/office/drawing/2014/main" id="{B074DB79-C097-53BC-5210-BB95DA6E04BF}"/>
              </a:ext>
            </a:extLst>
          </p:cNvPr>
          <p:cNvGrpSpPr/>
          <p:nvPr/>
        </p:nvGrpSpPr>
        <p:grpSpPr>
          <a:xfrm>
            <a:off x="6374003" y="3627360"/>
            <a:ext cx="2078594" cy="979496"/>
            <a:chOff x="2723278" y="3623609"/>
            <a:chExt cx="2078594" cy="979496"/>
          </a:xfrm>
        </p:grpSpPr>
        <p:sp>
          <p:nvSpPr>
            <p:cNvPr id="9" name="Google Shape;339;p19">
              <a:extLst>
                <a:ext uri="{FF2B5EF4-FFF2-40B4-BE49-F238E27FC236}">
                  <a16:creationId xmlns:a16="http://schemas.microsoft.com/office/drawing/2014/main" id="{8925CA10-1110-6665-B945-65EB780010E2}"/>
                </a:ext>
              </a:extLst>
            </p:cNvPr>
            <p:cNvSpPr/>
            <p:nvPr/>
          </p:nvSpPr>
          <p:spPr>
            <a:xfrm>
              <a:off x="2723278" y="3642186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0"/>
                  </a:moveTo>
                  <a:cubicBezTo>
                    <a:pt x="16310" y="0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6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4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50" y="18958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89"/>
                    <a:pt x="8020" y="16325"/>
                    <a:pt x="8743" y="16325"/>
                  </a:cubicBezTo>
                  <a:cubicBezTo>
                    <a:pt x="8765" y="16325"/>
                    <a:pt x="8788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69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6"/>
                    <a:pt x="47570" y="25126"/>
                  </a:cubicBezTo>
                  <a:cubicBezTo>
                    <a:pt x="49509" y="25126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3"/>
                    <a:pt x="50245" y="1050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0"/>
                    <a:pt x="18228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340;p19">
              <a:extLst>
                <a:ext uri="{FF2B5EF4-FFF2-40B4-BE49-F238E27FC236}">
                  <a16:creationId xmlns:a16="http://schemas.microsoft.com/office/drawing/2014/main" id="{0906E6F3-139D-7609-195B-DA03E6A6FD27}"/>
                </a:ext>
              </a:extLst>
            </p:cNvPr>
            <p:cNvSpPr/>
            <p:nvPr/>
          </p:nvSpPr>
          <p:spPr>
            <a:xfrm>
              <a:off x="4624272" y="3879385"/>
              <a:ext cx="177598" cy="256288"/>
            </a:xfrm>
            <a:custGeom>
              <a:avLst/>
              <a:gdLst/>
              <a:ahLst/>
              <a:cxnLst/>
              <a:rect l="l" t="t" r="r" b="b"/>
              <a:pathLst>
                <a:path w="4644" h="6025" extrusionOk="0">
                  <a:moveTo>
                    <a:pt x="0" y="0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3"/>
                  </a:cubicBezTo>
                  <a:cubicBezTo>
                    <a:pt x="3215" y="346"/>
                    <a:pt x="2465" y="0"/>
                    <a:pt x="1643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1" name="Google Shape;341;p19">
              <a:extLst>
                <a:ext uri="{FF2B5EF4-FFF2-40B4-BE49-F238E27FC236}">
                  <a16:creationId xmlns:a16="http://schemas.microsoft.com/office/drawing/2014/main" id="{84C4A120-70DA-A173-FED8-A5998721CA38}"/>
                </a:ext>
              </a:extLst>
            </p:cNvPr>
            <p:cNvSpPr/>
            <p:nvPr/>
          </p:nvSpPr>
          <p:spPr>
            <a:xfrm>
              <a:off x="2725573" y="3624059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0"/>
                  </a:moveTo>
                  <a:cubicBezTo>
                    <a:pt x="15633" y="0"/>
                    <a:pt x="14037" y="1596"/>
                    <a:pt x="14037" y="3548"/>
                  </a:cubicBezTo>
                  <a:lnTo>
                    <a:pt x="14037" y="12716"/>
                  </a:lnTo>
                  <a:cubicBezTo>
                    <a:pt x="14037" y="13847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59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1"/>
                    <a:pt x="3739" y="19431"/>
                  </a:cubicBezTo>
                  <a:cubicBezTo>
                    <a:pt x="5084" y="19431"/>
                    <a:pt x="6275" y="18705"/>
                    <a:pt x="6929" y="17633"/>
                  </a:cubicBezTo>
                  <a:cubicBezTo>
                    <a:pt x="7287" y="17026"/>
                    <a:pt x="7941" y="16633"/>
                    <a:pt x="8692" y="16633"/>
                  </a:cubicBezTo>
                  <a:lnTo>
                    <a:pt x="11990" y="16633"/>
                  </a:lnTo>
                  <a:cubicBezTo>
                    <a:pt x="13121" y="16633"/>
                    <a:pt x="14037" y="17538"/>
                    <a:pt x="14037" y="18669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48"/>
                  </a:lnTo>
                  <a:cubicBezTo>
                    <a:pt x="50721" y="1596"/>
                    <a:pt x="49137" y="0"/>
                    <a:pt x="47173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2" name="Google Shape;342;p19">
              <a:extLst>
                <a:ext uri="{FF2B5EF4-FFF2-40B4-BE49-F238E27FC236}">
                  <a16:creationId xmlns:a16="http://schemas.microsoft.com/office/drawing/2014/main" id="{B834AEBE-67E0-14A7-CC93-C735E7163B8D}"/>
                </a:ext>
              </a:extLst>
            </p:cNvPr>
            <p:cNvSpPr/>
            <p:nvPr/>
          </p:nvSpPr>
          <p:spPr>
            <a:xfrm>
              <a:off x="2752419" y="410805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3" name="Google Shape;343;p19">
              <a:extLst>
                <a:ext uri="{FF2B5EF4-FFF2-40B4-BE49-F238E27FC236}">
                  <a16:creationId xmlns:a16="http://schemas.microsoft.com/office/drawing/2014/main" id="{86409286-4934-7671-5489-252DF7A4ED49}"/>
                </a:ext>
              </a:extLst>
            </p:cNvPr>
            <p:cNvSpPr/>
            <p:nvPr/>
          </p:nvSpPr>
          <p:spPr>
            <a:xfrm>
              <a:off x="3195458" y="3654023"/>
              <a:ext cx="1606414" cy="368715"/>
            </a:xfrm>
            <a:custGeom>
              <a:avLst/>
              <a:gdLst/>
              <a:ahLst/>
              <a:cxnLst/>
              <a:rect l="l" t="t" r="r" b="b"/>
              <a:pathLst>
                <a:path w="42006" h="8668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4"/>
                    <a:pt x="0" y="2893"/>
                    <a:pt x="0" y="3012"/>
                  </a:cubicBezTo>
                  <a:cubicBezTo>
                    <a:pt x="0" y="4667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7"/>
                    <a:pt x="41982" y="8668"/>
                  </a:cubicBezTo>
                  <a:lnTo>
                    <a:pt x="42005" y="8311"/>
                  </a:lnTo>
                  <a:lnTo>
                    <a:pt x="42005" y="3012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5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344;p19">
              <a:extLst>
                <a:ext uri="{FF2B5EF4-FFF2-40B4-BE49-F238E27FC236}">
                  <a16:creationId xmlns:a16="http://schemas.microsoft.com/office/drawing/2014/main" id="{92DFED7A-21BD-E3D5-1B8A-CDD2DECD66BC}"/>
                </a:ext>
              </a:extLst>
            </p:cNvPr>
            <p:cNvSpPr/>
            <p:nvPr/>
          </p:nvSpPr>
          <p:spPr>
            <a:xfrm>
              <a:off x="3195458" y="3623609"/>
              <a:ext cx="1606414" cy="383943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59"/>
                    <a:pt x="41124" y="6906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29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5" name="Google Shape;345;p19">
              <a:extLst>
                <a:ext uri="{FF2B5EF4-FFF2-40B4-BE49-F238E27FC236}">
                  <a16:creationId xmlns:a16="http://schemas.microsoft.com/office/drawing/2014/main" id="{6CD84315-A122-FEF7-7737-0C5BC7B7AE70}"/>
                </a:ext>
              </a:extLst>
            </p:cNvPr>
            <p:cNvSpPr txBox="1"/>
            <p:nvPr/>
          </p:nvSpPr>
          <p:spPr>
            <a:xfrm>
              <a:off x="3265722" y="3955988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ke sure output solves prompts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6" name="Google Shape;346;p19">
              <a:extLst>
                <a:ext uri="{FF2B5EF4-FFF2-40B4-BE49-F238E27FC236}">
                  <a16:creationId xmlns:a16="http://schemas.microsoft.com/office/drawing/2014/main" id="{61BEBF24-5F49-AB7A-15D1-508CEE6C9DD8}"/>
                </a:ext>
              </a:extLst>
            </p:cNvPr>
            <p:cNvSpPr txBox="1"/>
            <p:nvPr/>
          </p:nvSpPr>
          <p:spPr>
            <a:xfrm>
              <a:off x="3195450" y="36238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est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17" name="Google Shape;347;p19">
            <a:extLst>
              <a:ext uri="{FF2B5EF4-FFF2-40B4-BE49-F238E27FC236}">
                <a16:creationId xmlns:a16="http://schemas.microsoft.com/office/drawing/2014/main" id="{2C78506E-A503-BD61-6D94-1C8F5486D44E}"/>
              </a:ext>
            </a:extLst>
          </p:cNvPr>
          <p:cNvGrpSpPr/>
          <p:nvPr/>
        </p:nvGrpSpPr>
        <p:grpSpPr>
          <a:xfrm>
            <a:off x="6374003" y="2391176"/>
            <a:ext cx="2078594" cy="979041"/>
            <a:chOff x="2723278" y="2387425"/>
            <a:chExt cx="2078594" cy="979041"/>
          </a:xfrm>
        </p:grpSpPr>
        <p:sp>
          <p:nvSpPr>
            <p:cNvPr id="18" name="Google Shape;348;p19">
              <a:extLst>
                <a:ext uri="{FF2B5EF4-FFF2-40B4-BE49-F238E27FC236}">
                  <a16:creationId xmlns:a16="http://schemas.microsoft.com/office/drawing/2014/main" id="{18E69FBC-3E13-2EE9-8FB7-B3FCF4AA8B04}"/>
                </a:ext>
              </a:extLst>
            </p:cNvPr>
            <p:cNvSpPr/>
            <p:nvPr/>
          </p:nvSpPr>
          <p:spPr>
            <a:xfrm>
              <a:off x="2723278" y="240554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49" y="1"/>
                  </a:moveTo>
                  <a:cubicBezTo>
                    <a:pt x="16321" y="1"/>
                    <a:pt x="14715" y="1515"/>
                    <a:pt x="14657" y="3431"/>
                  </a:cubicBezTo>
                  <a:lnTo>
                    <a:pt x="14348" y="12599"/>
                  </a:lnTo>
                  <a:cubicBezTo>
                    <a:pt x="14312" y="13708"/>
                    <a:pt x="13396" y="14577"/>
                    <a:pt x="12283" y="14577"/>
                  </a:cubicBezTo>
                  <a:cubicBezTo>
                    <a:pt x="12261" y="14577"/>
                    <a:pt x="12239" y="14576"/>
                    <a:pt x="12216" y="14576"/>
                  </a:cubicBezTo>
                  <a:lnTo>
                    <a:pt x="8871" y="14468"/>
                  </a:lnTo>
                  <a:cubicBezTo>
                    <a:pt x="8121" y="14433"/>
                    <a:pt x="7466" y="14016"/>
                    <a:pt x="7132" y="13397"/>
                  </a:cubicBezTo>
                  <a:cubicBezTo>
                    <a:pt x="6501" y="12301"/>
                    <a:pt x="5334" y="11539"/>
                    <a:pt x="3965" y="11504"/>
                  </a:cubicBezTo>
                  <a:cubicBezTo>
                    <a:pt x="3921" y="11502"/>
                    <a:pt x="3876" y="11501"/>
                    <a:pt x="3832" y="11501"/>
                  </a:cubicBezTo>
                  <a:cubicBezTo>
                    <a:pt x="1807" y="11501"/>
                    <a:pt x="130" y="13084"/>
                    <a:pt x="60" y="15099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60" y="18959"/>
                    <a:pt x="3806" y="18959"/>
                    <a:pt x="3850" y="18959"/>
                  </a:cubicBezTo>
                  <a:cubicBezTo>
                    <a:pt x="5164" y="18959"/>
                    <a:pt x="6322" y="18291"/>
                    <a:pt x="7001" y="17266"/>
                  </a:cubicBezTo>
                  <a:cubicBezTo>
                    <a:pt x="7371" y="16700"/>
                    <a:pt x="8021" y="16325"/>
                    <a:pt x="8745" y="16325"/>
                  </a:cubicBezTo>
                  <a:cubicBezTo>
                    <a:pt x="8767" y="16325"/>
                    <a:pt x="8789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21"/>
                    <a:pt x="14157" y="18540"/>
                  </a:cubicBezTo>
                  <a:lnTo>
                    <a:pt x="14097" y="20481"/>
                  </a:lnTo>
                  <a:cubicBezTo>
                    <a:pt x="14026" y="22434"/>
                    <a:pt x="15586" y="24077"/>
                    <a:pt x="17562" y="24148"/>
                  </a:cubicBezTo>
                  <a:lnTo>
                    <a:pt x="47459" y="25124"/>
                  </a:lnTo>
                  <a:cubicBezTo>
                    <a:pt x="47503" y="25126"/>
                    <a:pt x="47548" y="25127"/>
                    <a:pt x="47592" y="25127"/>
                  </a:cubicBezTo>
                  <a:cubicBezTo>
                    <a:pt x="49520" y="25127"/>
                    <a:pt x="51104" y="23616"/>
                    <a:pt x="51174" y="21695"/>
                  </a:cubicBezTo>
                  <a:lnTo>
                    <a:pt x="51733" y="4658"/>
                  </a:lnTo>
                  <a:cubicBezTo>
                    <a:pt x="51793" y="2693"/>
                    <a:pt x="50245" y="1050"/>
                    <a:pt x="48257" y="991"/>
                  </a:cubicBezTo>
                  <a:lnTo>
                    <a:pt x="18360" y="2"/>
                  </a:lnTo>
                  <a:cubicBezTo>
                    <a:pt x="18323" y="1"/>
                    <a:pt x="18286" y="1"/>
                    <a:pt x="18249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349;p19">
              <a:extLst>
                <a:ext uri="{FF2B5EF4-FFF2-40B4-BE49-F238E27FC236}">
                  <a16:creationId xmlns:a16="http://schemas.microsoft.com/office/drawing/2014/main" id="{010DEEC5-A79E-ABDD-11EB-A0B695831937}"/>
                </a:ext>
              </a:extLst>
            </p:cNvPr>
            <p:cNvSpPr/>
            <p:nvPr/>
          </p:nvSpPr>
          <p:spPr>
            <a:xfrm>
              <a:off x="4624272" y="264341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0" y="1"/>
                  </a:moveTo>
                  <a:lnTo>
                    <a:pt x="0" y="6014"/>
                  </a:lnTo>
                  <a:lnTo>
                    <a:pt x="1643" y="6014"/>
                  </a:lnTo>
                  <a:cubicBezTo>
                    <a:pt x="3298" y="6014"/>
                    <a:pt x="4643" y="4668"/>
                    <a:pt x="4643" y="3001"/>
                  </a:cubicBezTo>
                  <a:cubicBezTo>
                    <a:pt x="4643" y="2180"/>
                    <a:pt x="4310" y="1430"/>
                    <a:pt x="3762" y="882"/>
                  </a:cubicBezTo>
                  <a:cubicBezTo>
                    <a:pt x="3215" y="334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0" name="Google Shape;350;p19">
              <a:extLst>
                <a:ext uri="{FF2B5EF4-FFF2-40B4-BE49-F238E27FC236}">
                  <a16:creationId xmlns:a16="http://schemas.microsoft.com/office/drawing/2014/main" id="{C0386103-0374-8EAA-D897-EB6A769E0CE7}"/>
                </a:ext>
              </a:extLst>
            </p:cNvPr>
            <p:cNvSpPr/>
            <p:nvPr/>
          </p:nvSpPr>
          <p:spPr>
            <a:xfrm>
              <a:off x="2725573" y="2387840"/>
              <a:ext cx="1939698" cy="923442"/>
            </a:xfrm>
            <a:custGeom>
              <a:avLst/>
              <a:gdLst/>
              <a:ahLst/>
              <a:cxnLst/>
              <a:rect l="l" t="t" r="r" b="b"/>
              <a:pathLst>
                <a:path w="50721" h="24147" extrusionOk="0">
                  <a:moveTo>
                    <a:pt x="17597" y="1"/>
                  </a:moveTo>
                  <a:cubicBezTo>
                    <a:pt x="15633" y="1"/>
                    <a:pt x="14037" y="1585"/>
                    <a:pt x="14037" y="3549"/>
                  </a:cubicBezTo>
                  <a:lnTo>
                    <a:pt x="14037" y="12717"/>
                  </a:lnTo>
                  <a:cubicBezTo>
                    <a:pt x="14037" y="13848"/>
                    <a:pt x="13121" y="14765"/>
                    <a:pt x="11990" y="14765"/>
                  </a:cubicBezTo>
                  <a:lnTo>
                    <a:pt x="8692" y="14765"/>
                  </a:lnTo>
                  <a:cubicBezTo>
                    <a:pt x="7941" y="14765"/>
                    <a:pt x="7287" y="14360"/>
                    <a:pt x="6929" y="13753"/>
                  </a:cubicBezTo>
                  <a:cubicBezTo>
                    <a:pt x="6275" y="12681"/>
                    <a:pt x="5084" y="11955"/>
                    <a:pt x="3739" y="11955"/>
                  </a:cubicBezTo>
                  <a:cubicBezTo>
                    <a:pt x="1679" y="11955"/>
                    <a:pt x="0" y="13634"/>
                    <a:pt x="0" y="15693"/>
                  </a:cubicBezTo>
                  <a:cubicBezTo>
                    <a:pt x="0" y="17753"/>
                    <a:pt x="1679" y="19420"/>
                    <a:pt x="3739" y="19420"/>
                  </a:cubicBezTo>
                  <a:cubicBezTo>
                    <a:pt x="5084" y="19420"/>
                    <a:pt x="6275" y="18706"/>
                    <a:pt x="6929" y="17622"/>
                  </a:cubicBezTo>
                  <a:cubicBezTo>
                    <a:pt x="7287" y="17027"/>
                    <a:pt x="7941" y="16622"/>
                    <a:pt x="8692" y="16622"/>
                  </a:cubicBezTo>
                  <a:lnTo>
                    <a:pt x="11990" y="16622"/>
                  </a:lnTo>
                  <a:cubicBezTo>
                    <a:pt x="13121" y="16622"/>
                    <a:pt x="14037" y="17539"/>
                    <a:pt x="14037" y="18670"/>
                  </a:cubicBezTo>
                  <a:lnTo>
                    <a:pt x="14037" y="20599"/>
                  </a:lnTo>
                  <a:cubicBezTo>
                    <a:pt x="14037" y="22551"/>
                    <a:pt x="15633" y="24147"/>
                    <a:pt x="17597" y="24147"/>
                  </a:cubicBezTo>
                  <a:lnTo>
                    <a:pt x="47173" y="24147"/>
                  </a:lnTo>
                  <a:cubicBezTo>
                    <a:pt x="49137" y="24147"/>
                    <a:pt x="50721" y="22551"/>
                    <a:pt x="50721" y="20599"/>
                  </a:cubicBezTo>
                  <a:lnTo>
                    <a:pt x="50721" y="3549"/>
                  </a:lnTo>
                  <a:cubicBezTo>
                    <a:pt x="50721" y="1585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1" name="Google Shape;351;p19">
              <a:extLst>
                <a:ext uri="{FF2B5EF4-FFF2-40B4-BE49-F238E27FC236}">
                  <a16:creationId xmlns:a16="http://schemas.microsoft.com/office/drawing/2014/main" id="{0F9E0DF7-73DD-BD0E-B8EF-9C7B360CAD62}"/>
                </a:ext>
              </a:extLst>
            </p:cNvPr>
            <p:cNvSpPr/>
            <p:nvPr/>
          </p:nvSpPr>
          <p:spPr>
            <a:xfrm>
              <a:off x="2752419" y="287187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0"/>
                  </a:moveTo>
                  <a:cubicBezTo>
                    <a:pt x="1358" y="0"/>
                    <a:pt x="0" y="1358"/>
                    <a:pt x="0" y="3036"/>
                  </a:cubicBezTo>
                  <a:cubicBezTo>
                    <a:pt x="0" y="4715"/>
                    <a:pt x="1358" y="6072"/>
                    <a:pt x="3037" y="6072"/>
                  </a:cubicBezTo>
                  <a:cubicBezTo>
                    <a:pt x="4715" y="6072"/>
                    <a:pt x="6073" y="4715"/>
                    <a:pt x="6073" y="3036"/>
                  </a:cubicBezTo>
                  <a:cubicBezTo>
                    <a:pt x="6073" y="1358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352;p19">
              <a:extLst>
                <a:ext uri="{FF2B5EF4-FFF2-40B4-BE49-F238E27FC236}">
                  <a16:creationId xmlns:a16="http://schemas.microsoft.com/office/drawing/2014/main" id="{BE1E2195-21A6-BB86-3C83-F18FD79DF686}"/>
                </a:ext>
              </a:extLst>
            </p:cNvPr>
            <p:cNvSpPr/>
            <p:nvPr/>
          </p:nvSpPr>
          <p:spPr>
            <a:xfrm>
              <a:off x="3195458" y="241731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1465" y="1"/>
                    <a:pt x="191" y="1168"/>
                    <a:pt x="12" y="2656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80"/>
                    <a:pt x="1346" y="6025"/>
                    <a:pt x="3001" y="6025"/>
                  </a:cubicBezTo>
                  <a:lnTo>
                    <a:pt x="39005" y="6025"/>
                  </a:lnTo>
                  <a:cubicBezTo>
                    <a:pt x="39827" y="6025"/>
                    <a:pt x="40589" y="6359"/>
                    <a:pt x="41124" y="6906"/>
                  </a:cubicBezTo>
                  <a:cubicBezTo>
                    <a:pt x="41589" y="7371"/>
                    <a:pt x="41898" y="7990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92"/>
                    <a:pt x="41672" y="1430"/>
                    <a:pt x="41124" y="894"/>
                  </a:cubicBezTo>
                  <a:cubicBezTo>
                    <a:pt x="40589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3" name="Google Shape;353;p19">
              <a:extLst>
                <a:ext uri="{FF2B5EF4-FFF2-40B4-BE49-F238E27FC236}">
                  <a16:creationId xmlns:a16="http://schemas.microsoft.com/office/drawing/2014/main" id="{43A4A958-CE97-F05E-A352-0D4F34078236}"/>
                </a:ext>
              </a:extLst>
            </p:cNvPr>
            <p:cNvSpPr/>
            <p:nvPr/>
          </p:nvSpPr>
          <p:spPr>
            <a:xfrm>
              <a:off x="3195458" y="2387428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1346" y="0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46"/>
                    <a:pt x="41124" y="6894"/>
                  </a:cubicBezTo>
                  <a:cubicBezTo>
                    <a:pt x="41672" y="7442"/>
                    <a:pt x="42005" y="8192"/>
                    <a:pt x="42005" y="9013"/>
                  </a:cubicBez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77" y="334"/>
                    <a:pt x="39827" y="0"/>
                    <a:pt x="39005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4" name="Google Shape;354;p19">
              <a:extLst>
                <a:ext uri="{FF2B5EF4-FFF2-40B4-BE49-F238E27FC236}">
                  <a16:creationId xmlns:a16="http://schemas.microsoft.com/office/drawing/2014/main" id="{166320F0-CCB3-F892-39B4-120280EC6791}"/>
                </a:ext>
              </a:extLst>
            </p:cNvPr>
            <p:cNvSpPr txBox="1"/>
            <p:nvPr/>
          </p:nvSpPr>
          <p:spPr>
            <a:xfrm>
              <a:off x="3265722" y="271575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rain model with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25" name="Google Shape;355;p19">
              <a:extLst>
                <a:ext uri="{FF2B5EF4-FFF2-40B4-BE49-F238E27FC236}">
                  <a16:creationId xmlns:a16="http://schemas.microsoft.com/office/drawing/2014/main" id="{0AB07A8E-6132-3718-E204-6EC03DB0058F}"/>
                </a:ext>
              </a:extLst>
            </p:cNvPr>
            <p:cNvSpPr txBox="1"/>
            <p:nvPr/>
          </p:nvSpPr>
          <p:spPr>
            <a:xfrm>
              <a:off x="3195450" y="23874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rain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26" name="Google Shape;356;p19">
            <a:extLst>
              <a:ext uri="{FF2B5EF4-FFF2-40B4-BE49-F238E27FC236}">
                <a16:creationId xmlns:a16="http://schemas.microsoft.com/office/drawing/2014/main" id="{363CB442-5B41-9EA5-3609-0A6BFB101BCF}"/>
              </a:ext>
            </a:extLst>
          </p:cNvPr>
          <p:cNvGrpSpPr/>
          <p:nvPr/>
        </p:nvGrpSpPr>
        <p:grpSpPr>
          <a:xfrm>
            <a:off x="6374003" y="1154501"/>
            <a:ext cx="2078594" cy="979497"/>
            <a:chOff x="2723278" y="1150750"/>
            <a:chExt cx="2078594" cy="979497"/>
          </a:xfrm>
        </p:grpSpPr>
        <p:sp>
          <p:nvSpPr>
            <p:cNvPr id="27" name="Google Shape;357;p19">
              <a:extLst>
                <a:ext uri="{FF2B5EF4-FFF2-40B4-BE49-F238E27FC236}">
                  <a16:creationId xmlns:a16="http://schemas.microsoft.com/office/drawing/2014/main" id="{EE00E48D-BEF0-D033-3ED3-3FA5486E19CE}"/>
                </a:ext>
              </a:extLst>
            </p:cNvPr>
            <p:cNvSpPr/>
            <p:nvPr/>
          </p:nvSpPr>
          <p:spPr>
            <a:xfrm>
              <a:off x="2723278" y="1169328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1"/>
                  </a:moveTo>
                  <a:cubicBezTo>
                    <a:pt x="16310" y="1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7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5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60"/>
                    <a:pt x="1632" y="18886"/>
                    <a:pt x="3715" y="18958"/>
                  </a:cubicBezTo>
                  <a:cubicBezTo>
                    <a:pt x="3750" y="18959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90"/>
                    <a:pt x="8020" y="16325"/>
                    <a:pt x="8743" y="16325"/>
                  </a:cubicBezTo>
                  <a:cubicBezTo>
                    <a:pt x="8765" y="16325"/>
                    <a:pt x="8788" y="16326"/>
                    <a:pt x="8811" y="16326"/>
                  </a:cubicBezTo>
                  <a:lnTo>
                    <a:pt x="12157" y="16434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70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7"/>
                    <a:pt x="47570" y="25127"/>
                  </a:cubicBezTo>
                  <a:cubicBezTo>
                    <a:pt x="49509" y="25127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4"/>
                    <a:pt x="50245" y="1051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1"/>
                    <a:pt x="18228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358;p19">
              <a:extLst>
                <a:ext uri="{FF2B5EF4-FFF2-40B4-BE49-F238E27FC236}">
                  <a16:creationId xmlns:a16="http://schemas.microsoft.com/office/drawing/2014/main" id="{4C45B391-0EBD-FBC1-E89D-BC4A3C61C49C}"/>
                </a:ext>
              </a:extLst>
            </p:cNvPr>
            <p:cNvSpPr/>
            <p:nvPr/>
          </p:nvSpPr>
          <p:spPr>
            <a:xfrm>
              <a:off x="4624272" y="1406505"/>
              <a:ext cx="177598" cy="256316"/>
            </a:xfrm>
            <a:custGeom>
              <a:avLst/>
              <a:gdLst/>
              <a:ahLst/>
              <a:cxnLst/>
              <a:rect l="l" t="t" r="r" b="b"/>
              <a:pathLst>
                <a:path w="4644" h="6026" extrusionOk="0">
                  <a:moveTo>
                    <a:pt x="0" y="1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4"/>
                  </a:cubicBezTo>
                  <a:cubicBezTo>
                    <a:pt x="3215" y="346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9" name="Google Shape;359;p19">
              <a:extLst>
                <a:ext uri="{FF2B5EF4-FFF2-40B4-BE49-F238E27FC236}">
                  <a16:creationId xmlns:a16="http://schemas.microsoft.com/office/drawing/2014/main" id="{735C1EAF-3922-D645-80E5-AF0CF28C0D00}"/>
                </a:ext>
              </a:extLst>
            </p:cNvPr>
            <p:cNvSpPr/>
            <p:nvPr/>
          </p:nvSpPr>
          <p:spPr>
            <a:xfrm>
              <a:off x="2725573" y="1151201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1"/>
                  </a:moveTo>
                  <a:cubicBezTo>
                    <a:pt x="15633" y="1"/>
                    <a:pt x="14037" y="1596"/>
                    <a:pt x="14037" y="3561"/>
                  </a:cubicBezTo>
                  <a:lnTo>
                    <a:pt x="14037" y="12717"/>
                  </a:lnTo>
                  <a:cubicBezTo>
                    <a:pt x="14037" y="13848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60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2"/>
                    <a:pt x="3739" y="19432"/>
                  </a:cubicBezTo>
                  <a:cubicBezTo>
                    <a:pt x="5084" y="19432"/>
                    <a:pt x="6275" y="18705"/>
                    <a:pt x="6929" y="17634"/>
                  </a:cubicBezTo>
                  <a:cubicBezTo>
                    <a:pt x="7287" y="17027"/>
                    <a:pt x="7941" y="16634"/>
                    <a:pt x="8692" y="16634"/>
                  </a:cubicBezTo>
                  <a:lnTo>
                    <a:pt x="11990" y="16634"/>
                  </a:lnTo>
                  <a:cubicBezTo>
                    <a:pt x="13121" y="16634"/>
                    <a:pt x="14037" y="17539"/>
                    <a:pt x="14037" y="18670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61"/>
                  </a:lnTo>
                  <a:cubicBezTo>
                    <a:pt x="50721" y="1596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0" name="Google Shape;360;p19">
              <a:extLst>
                <a:ext uri="{FF2B5EF4-FFF2-40B4-BE49-F238E27FC236}">
                  <a16:creationId xmlns:a16="http://schemas.microsoft.com/office/drawing/2014/main" id="{B0250220-4F43-94EC-5479-D17FB1FEAF20}"/>
                </a:ext>
              </a:extLst>
            </p:cNvPr>
            <p:cNvSpPr/>
            <p:nvPr/>
          </p:nvSpPr>
          <p:spPr>
            <a:xfrm>
              <a:off x="2752419" y="1635195"/>
              <a:ext cx="232247" cy="232285"/>
            </a:xfrm>
            <a:custGeom>
              <a:avLst/>
              <a:gdLst/>
              <a:ahLst/>
              <a:cxnLst/>
              <a:rect l="l" t="t" r="r" b="b"/>
              <a:pathLst>
                <a:path w="6073" h="6074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1" name="Google Shape;361;p19">
              <a:extLst>
                <a:ext uri="{FF2B5EF4-FFF2-40B4-BE49-F238E27FC236}">
                  <a16:creationId xmlns:a16="http://schemas.microsoft.com/office/drawing/2014/main" id="{B9C2E377-FBB7-BACE-D669-75B840CC9687}"/>
                </a:ext>
              </a:extLst>
            </p:cNvPr>
            <p:cNvSpPr/>
            <p:nvPr/>
          </p:nvSpPr>
          <p:spPr>
            <a:xfrm>
              <a:off x="3195458" y="1181162"/>
              <a:ext cx="1606414" cy="36873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8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6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2" name="Google Shape;362;p19">
              <a:extLst>
                <a:ext uri="{FF2B5EF4-FFF2-40B4-BE49-F238E27FC236}">
                  <a16:creationId xmlns:a16="http://schemas.microsoft.com/office/drawing/2014/main" id="{4A81ED20-F49E-7F84-EA78-2BF1B239E57E}"/>
                </a:ext>
              </a:extLst>
            </p:cNvPr>
            <p:cNvSpPr/>
            <p:nvPr/>
          </p:nvSpPr>
          <p:spPr>
            <a:xfrm>
              <a:off x="3195458" y="1150750"/>
              <a:ext cx="1606414" cy="383921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4"/>
                    <a:pt x="3001" y="6014"/>
                  </a:cubicBezTo>
                  <a:lnTo>
                    <a:pt x="39005" y="6014"/>
                  </a:lnTo>
                  <a:cubicBezTo>
                    <a:pt x="39827" y="6014"/>
                    <a:pt x="40577" y="6359"/>
                    <a:pt x="41124" y="6907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30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3" name="Google Shape;363;p19">
              <a:extLst>
                <a:ext uri="{FF2B5EF4-FFF2-40B4-BE49-F238E27FC236}">
                  <a16:creationId xmlns:a16="http://schemas.microsoft.com/office/drawing/2014/main" id="{BC794B05-5D85-8D8E-35E9-689E5F6C33FA}"/>
                </a:ext>
              </a:extLst>
            </p:cNvPr>
            <p:cNvSpPr txBox="1"/>
            <p:nvPr/>
          </p:nvSpPr>
          <p:spPr>
            <a:xfrm>
              <a:off x="3265722" y="147550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Put into data frame as one string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grpSp>
        <p:nvGrpSpPr>
          <p:cNvPr id="35" name="Google Shape;365;p19">
            <a:extLst>
              <a:ext uri="{FF2B5EF4-FFF2-40B4-BE49-F238E27FC236}">
                <a16:creationId xmlns:a16="http://schemas.microsoft.com/office/drawing/2014/main" id="{0BADACB9-1085-F688-313B-7C43F818523C}"/>
              </a:ext>
            </a:extLst>
          </p:cNvPr>
          <p:cNvGrpSpPr/>
          <p:nvPr/>
        </p:nvGrpSpPr>
        <p:grpSpPr>
          <a:xfrm>
            <a:off x="4584563" y="536651"/>
            <a:ext cx="2079971" cy="979046"/>
            <a:chOff x="933838" y="532900"/>
            <a:chExt cx="2079971" cy="979046"/>
          </a:xfrm>
        </p:grpSpPr>
        <p:sp>
          <p:nvSpPr>
            <p:cNvPr id="36" name="Google Shape;366;p19">
              <a:extLst>
                <a:ext uri="{FF2B5EF4-FFF2-40B4-BE49-F238E27FC236}">
                  <a16:creationId xmlns:a16="http://schemas.microsoft.com/office/drawing/2014/main" id="{AEAFFB94-29F2-E5C1-D5BD-8F27940CD915}"/>
                </a:ext>
              </a:extLst>
            </p:cNvPr>
            <p:cNvSpPr/>
            <p:nvPr/>
          </p:nvSpPr>
          <p:spPr>
            <a:xfrm>
              <a:off x="1033115" y="55102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33544" y="1"/>
                  </a:moveTo>
                  <a:cubicBezTo>
                    <a:pt x="33507" y="1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8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6"/>
                    <a:pt x="4322" y="25124"/>
                  </a:cubicBezTo>
                  <a:lnTo>
                    <a:pt x="34231" y="24136"/>
                  </a:lnTo>
                  <a:cubicBezTo>
                    <a:pt x="36207" y="24077"/>
                    <a:pt x="37767" y="22434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26"/>
                  </a:lnTo>
                  <a:cubicBezTo>
                    <a:pt x="43004" y="16325"/>
                    <a:pt x="43026" y="16325"/>
                    <a:pt x="43049" y="16325"/>
                  </a:cubicBezTo>
                  <a:cubicBezTo>
                    <a:pt x="43772" y="16325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9"/>
                    <a:pt x="48078" y="18957"/>
                  </a:cubicBezTo>
                  <a:cubicBezTo>
                    <a:pt x="50162" y="18886"/>
                    <a:pt x="51793" y="17159"/>
                    <a:pt x="51721" y="15099"/>
                  </a:cubicBezTo>
                  <a:cubicBezTo>
                    <a:pt x="51663" y="13077"/>
                    <a:pt x="49974" y="11490"/>
                    <a:pt x="47940" y="11490"/>
                  </a:cubicBezTo>
                  <a:cubicBezTo>
                    <a:pt x="47903" y="11490"/>
                    <a:pt x="47865" y="11491"/>
                    <a:pt x="47828" y="11492"/>
                  </a:cubicBezTo>
                  <a:cubicBezTo>
                    <a:pt x="46459" y="11539"/>
                    <a:pt x="45292" y="12301"/>
                    <a:pt x="44661" y="13397"/>
                  </a:cubicBezTo>
                  <a:cubicBezTo>
                    <a:pt x="44327" y="14004"/>
                    <a:pt x="43673" y="14433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7"/>
                    <a:pt x="39511" y="14577"/>
                  </a:cubicBezTo>
                  <a:cubicBezTo>
                    <a:pt x="38397" y="14577"/>
                    <a:pt x="37480" y="13697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1"/>
                    <a:pt x="33544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7" name="Google Shape;367;p19">
              <a:extLst>
                <a:ext uri="{FF2B5EF4-FFF2-40B4-BE49-F238E27FC236}">
                  <a16:creationId xmlns:a16="http://schemas.microsoft.com/office/drawing/2014/main" id="{83656B75-FA65-EADB-2A16-79FDF08446F0}"/>
                </a:ext>
              </a:extLst>
            </p:cNvPr>
            <p:cNvSpPr/>
            <p:nvPr/>
          </p:nvSpPr>
          <p:spPr>
            <a:xfrm>
              <a:off x="933838" y="78889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80"/>
                    <a:pt x="1" y="3001"/>
                  </a:cubicBezTo>
                  <a:cubicBezTo>
                    <a:pt x="1" y="4668"/>
                    <a:pt x="1346" y="6014"/>
                    <a:pt x="3001" y="6014"/>
                  </a:cubicBezTo>
                  <a:lnTo>
                    <a:pt x="4644" y="6014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8" name="Google Shape;368;p19">
              <a:extLst>
                <a:ext uri="{FF2B5EF4-FFF2-40B4-BE49-F238E27FC236}">
                  <a16:creationId xmlns:a16="http://schemas.microsoft.com/office/drawing/2014/main" id="{7E701376-48ED-70B6-D905-39B99D47F14E}"/>
                </a:ext>
              </a:extLst>
            </p:cNvPr>
            <p:cNvSpPr/>
            <p:nvPr/>
          </p:nvSpPr>
          <p:spPr>
            <a:xfrm>
              <a:off x="1071816" y="532900"/>
              <a:ext cx="1939277" cy="923862"/>
            </a:xfrm>
            <a:custGeom>
              <a:avLst/>
              <a:gdLst/>
              <a:ahLst/>
              <a:cxnLst/>
              <a:rect l="l" t="t" r="r" b="b"/>
              <a:pathLst>
                <a:path w="50710" h="24158" extrusionOk="0">
                  <a:moveTo>
                    <a:pt x="3549" y="0"/>
                  </a:moveTo>
                  <a:cubicBezTo>
                    <a:pt x="1584" y="0"/>
                    <a:pt x="1" y="1595"/>
                    <a:pt x="1" y="3560"/>
                  </a:cubicBezTo>
                  <a:lnTo>
                    <a:pt x="1" y="20610"/>
                  </a:lnTo>
                  <a:cubicBezTo>
                    <a:pt x="1" y="22562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2"/>
                    <a:pt x="36684" y="20610"/>
                  </a:cubicBezTo>
                  <a:lnTo>
                    <a:pt x="36684" y="18669"/>
                  </a:lnTo>
                  <a:cubicBezTo>
                    <a:pt x="36684" y="17550"/>
                    <a:pt x="37600" y="16633"/>
                    <a:pt x="38720" y="16633"/>
                  </a:cubicBezTo>
                  <a:lnTo>
                    <a:pt x="42030" y="16633"/>
                  </a:lnTo>
                  <a:cubicBezTo>
                    <a:pt x="42780" y="16633"/>
                    <a:pt x="43435" y="17038"/>
                    <a:pt x="43792" y="17633"/>
                  </a:cubicBezTo>
                  <a:cubicBezTo>
                    <a:pt x="44447" y="18705"/>
                    <a:pt x="45625" y="19431"/>
                    <a:pt x="46983" y="19431"/>
                  </a:cubicBezTo>
                  <a:cubicBezTo>
                    <a:pt x="49042" y="19431"/>
                    <a:pt x="50709" y="17752"/>
                    <a:pt x="50709" y="15692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2"/>
                    <a:pt x="43792" y="13764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28"/>
                  </a:cubicBezTo>
                  <a:lnTo>
                    <a:pt x="36684" y="3560"/>
                  </a:lnTo>
                  <a:cubicBezTo>
                    <a:pt x="36684" y="1595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9" name="Google Shape;369;p19">
              <a:extLst>
                <a:ext uri="{FF2B5EF4-FFF2-40B4-BE49-F238E27FC236}">
                  <a16:creationId xmlns:a16="http://schemas.microsoft.com/office/drawing/2014/main" id="{F478A4FC-C28A-AA2E-07A3-6DE1CFA16A04}"/>
                </a:ext>
              </a:extLst>
            </p:cNvPr>
            <p:cNvSpPr/>
            <p:nvPr/>
          </p:nvSpPr>
          <p:spPr>
            <a:xfrm>
              <a:off x="2752419" y="1016894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70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70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0" name="Google Shape;370;p19">
              <a:extLst>
                <a:ext uri="{FF2B5EF4-FFF2-40B4-BE49-F238E27FC236}">
                  <a16:creationId xmlns:a16="http://schemas.microsoft.com/office/drawing/2014/main" id="{D2CC46E4-0E18-C459-6731-7788D1035C52}"/>
                </a:ext>
              </a:extLst>
            </p:cNvPr>
            <p:cNvSpPr/>
            <p:nvPr/>
          </p:nvSpPr>
          <p:spPr>
            <a:xfrm>
              <a:off x="935214" y="56279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2168" y="1"/>
                    <a:pt x="1417" y="346"/>
                    <a:pt x="882" y="882"/>
                  </a:cubicBezTo>
                  <a:cubicBezTo>
                    <a:pt x="334" y="1429"/>
                    <a:pt x="1" y="2180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1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6"/>
                  </a:cubicBezTo>
                  <a:cubicBezTo>
                    <a:pt x="41815" y="1168"/>
                    <a:pt x="40541" y="1"/>
                    <a:pt x="39006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1" name="Google Shape;371;p19">
              <a:extLst>
                <a:ext uri="{FF2B5EF4-FFF2-40B4-BE49-F238E27FC236}">
                  <a16:creationId xmlns:a16="http://schemas.microsoft.com/office/drawing/2014/main" id="{BC0ADE3B-6BCB-A7F7-4E00-3B2C828E5260}"/>
                </a:ext>
              </a:extLst>
            </p:cNvPr>
            <p:cNvSpPr/>
            <p:nvPr/>
          </p:nvSpPr>
          <p:spPr>
            <a:xfrm>
              <a:off x="935214" y="532909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2168" y="0"/>
                    <a:pt x="1417" y="334"/>
                    <a:pt x="882" y="881"/>
                  </a:cubicBezTo>
                  <a:cubicBezTo>
                    <a:pt x="334" y="1417"/>
                    <a:pt x="1" y="2167"/>
                    <a:pt x="1" y="3001"/>
                  </a:cubicBezTo>
                  <a:lnTo>
                    <a:pt x="1" y="9013"/>
                  </a:lnTo>
                  <a:cubicBezTo>
                    <a:pt x="1" y="8192"/>
                    <a:pt x="334" y="7430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01"/>
                  </a:cubicBezTo>
                  <a:cubicBezTo>
                    <a:pt x="42006" y="1346"/>
                    <a:pt x="40660" y="0"/>
                    <a:pt x="39006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00"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2" name="Google Shape;372;p19">
              <a:extLst>
                <a:ext uri="{FF2B5EF4-FFF2-40B4-BE49-F238E27FC236}">
                  <a16:creationId xmlns:a16="http://schemas.microsoft.com/office/drawing/2014/main" id="{E28453F8-3EC6-DEDA-53C6-7ABEECD01F9A}"/>
                </a:ext>
              </a:extLst>
            </p:cNvPr>
            <p:cNvSpPr txBox="1"/>
            <p:nvPr/>
          </p:nvSpPr>
          <p:spPr>
            <a:xfrm>
              <a:off x="1081172" y="857225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5000 samples of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43" name="Google Shape;373;p19">
              <a:extLst>
                <a:ext uri="{FF2B5EF4-FFF2-40B4-BE49-F238E27FC236}">
                  <a16:creationId xmlns:a16="http://schemas.microsoft.com/office/drawing/2014/main" id="{33B1B2FE-6B07-658C-8002-785DCE648388}"/>
                </a:ext>
              </a:extLst>
            </p:cNvPr>
            <p:cNvSpPr txBox="1"/>
            <p:nvPr/>
          </p:nvSpPr>
          <p:spPr>
            <a:xfrm>
              <a:off x="1071825" y="532900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sym typeface="Fira Sans Extra Condensed Medium"/>
                </a:rPr>
                <a:t>Obtain Data</a:t>
              </a:r>
              <a:endParaRPr lang="en-US"/>
            </a:p>
          </p:txBody>
        </p:sp>
      </p:grpSp>
      <p:grpSp>
        <p:nvGrpSpPr>
          <p:cNvPr id="44" name="Google Shape;374;p19">
            <a:extLst>
              <a:ext uri="{FF2B5EF4-FFF2-40B4-BE49-F238E27FC236}">
                <a16:creationId xmlns:a16="http://schemas.microsoft.com/office/drawing/2014/main" id="{870EE28C-0036-35F6-40D7-794CBF7727D0}"/>
              </a:ext>
            </a:extLst>
          </p:cNvPr>
          <p:cNvGrpSpPr/>
          <p:nvPr/>
        </p:nvGrpSpPr>
        <p:grpSpPr>
          <a:xfrm>
            <a:off x="4584563" y="1772840"/>
            <a:ext cx="2079971" cy="979077"/>
            <a:chOff x="933838" y="1769089"/>
            <a:chExt cx="2079971" cy="979077"/>
          </a:xfrm>
        </p:grpSpPr>
        <p:sp>
          <p:nvSpPr>
            <p:cNvPr id="45" name="Google Shape;375;p19">
              <a:extLst>
                <a:ext uri="{FF2B5EF4-FFF2-40B4-BE49-F238E27FC236}">
                  <a16:creationId xmlns:a16="http://schemas.microsoft.com/office/drawing/2014/main" id="{41B1EE30-89B3-AED7-3C71-D8B988EBC1D5}"/>
                </a:ext>
              </a:extLst>
            </p:cNvPr>
            <p:cNvSpPr/>
            <p:nvPr/>
          </p:nvSpPr>
          <p:spPr>
            <a:xfrm>
              <a:off x="1033115" y="1787667"/>
              <a:ext cx="1980694" cy="960499"/>
            </a:xfrm>
            <a:custGeom>
              <a:avLst/>
              <a:gdLst/>
              <a:ahLst/>
              <a:cxnLst/>
              <a:rect l="l" t="t" r="r" b="b"/>
              <a:pathLst>
                <a:path w="51793" h="25116" extrusionOk="0">
                  <a:moveTo>
                    <a:pt x="33566" y="0"/>
                  </a:moveTo>
                  <a:cubicBezTo>
                    <a:pt x="33522" y="0"/>
                    <a:pt x="33478" y="1"/>
                    <a:pt x="33433" y="3"/>
                  </a:cubicBezTo>
                  <a:lnTo>
                    <a:pt x="3537" y="979"/>
                  </a:lnTo>
                  <a:cubicBezTo>
                    <a:pt x="1548" y="1050"/>
                    <a:pt x="0" y="2693"/>
                    <a:pt x="60" y="4646"/>
                  </a:cubicBezTo>
                  <a:lnTo>
                    <a:pt x="620" y="21684"/>
                  </a:lnTo>
                  <a:cubicBezTo>
                    <a:pt x="689" y="23604"/>
                    <a:pt x="2273" y="25115"/>
                    <a:pt x="4190" y="25115"/>
                  </a:cubicBezTo>
                  <a:cubicBezTo>
                    <a:pt x="4234" y="25115"/>
                    <a:pt x="4278" y="25114"/>
                    <a:pt x="4322" y="25113"/>
                  </a:cubicBezTo>
                  <a:lnTo>
                    <a:pt x="34231" y="24136"/>
                  </a:lnTo>
                  <a:cubicBezTo>
                    <a:pt x="36207" y="24065"/>
                    <a:pt x="37767" y="22422"/>
                    <a:pt x="37696" y="20469"/>
                  </a:cubicBezTo>
                  <a:lnTo>
                    <a:pt x="37636" y="18541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14"/>
                  </a:lnTo>
                  <a:cubicBezTo>
                    <a:pt x="43004" y="16313"/>
                    <a:pt x="43026" y="16313"/>
                    <a:pt x="43048" y="16313"/>
                  </a:cubicBezTo>
                  <a:cubicBezTo>
                    <a:pt x="43772" y="16313"/>
                    <a:pt x="44422" y="16689"/>
                    <a:pt x="44792" y="17267"/>
                  </a:cubicBezTo>
                  <a:cubicBezTo>
                    <a:pt x="45460" y="18280"/>
                    <a:pt x="46628" y="18948"/>
                    <a:pt x="47943" y="18948"/>
                  </a:cubicBezTo>
                  <a:cubicBezTo>
                    <a:pt x="47988" y="18948"/>
                    <a:pt x="48033" y="18947"/>
                    <a:pt x="48078" y="18945"/>
                  </a:cubicBezTo>
                  <a:cubicBezTo>
                    <a:pt x="50162" y="18886"/>
                    <a:pt x="51793" y="17159"/>
                    <a:pt x="51721" y="15100"/>
                  </a:cubicBezTo>
                  <a:cubicBezTo>
                    <a:pt x="51663" y="13084"/>
                    <a:pt x="49985" y="11490"/>
                    <a:pt x="47961" y="11490"/>
                  </a:cubicBezTo>
                  <a:cubicBezTo>
                    <a:pt x="47916" y="11490"/>
                    <a:pt x="47872" y="11491"/>
                    <a:pt x="47828" y="11492"/>
                  </a:cubicBezTo>
                  <a:cubicBezTo>
                    <a:pt x="46459" y="11540"/>
                    <a:pt x="45292" y="12290"/>
                    <a:pt x="44661" y="13397"/>
                  </a:cubicBezTo>
                  <a:cubicBezTo>
                    <a:pt x="44327" y="14004"/>
                    <a:pt x="43673" y="14433"/>
                    <a:pt x="42911" y="14457"/>
                  </a:cubicBezTo>
                  <a:lnTo>
                    <a:pt x="39577" y="14564"/>
                  </a:lnTo>
                  <a:cubicBezTo>
                    <a:pt x="39554" y="14565"/>
                    <a:pt x="39532" y="14565"/>
                    <a:pt x="39510" y="14565"/>
                  </a:cubicBezTo>
                  <a:cubicBezTo>
                    <a:pt x="38397" y="14565"/>
                    <a:pt x="37480" y="13696"/>
                    <a:pt x="37434" y="12587"/>
                  </a:cubicBezTo>
                  <a:lnTo>
                    <a:pt x="37136" y="3432"/>
                  </a:lnTo>
                  <a:cubicBezTo>
                    <a:pt x="37078" y="1511"/>
                    <a:pt x="35484" y="0"/>
                    <a:pt x="3356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6" name="Google Shape;376;p19">
              <a:extLst>
                <a:ext uri="{FF2B5EF4-FFF2-40B4-BE49-F238E27FC236}">
                  <a16:creationId xmlns:a16="http://schemas.microsoft.com/office/drawing/2014/main" id="{67C489D2-02A3-1001-86AF-4CE4EC84E40D}"/>
                </a:ext>
              </a:extLst>
            </p:cNvPr>
            <p:cNvSpPr/>
            <p:nvPr/>
          </p:nvSpPr>
          <p:spPr>
            <a:xfrm>
              <a:off x="933838" y="2025120"/>
              <a:ext cx="177598" cy="256034"/>
            </a:xfrm>
            <a:custGeom>
              <a:avLst/>
              <a:gdLst/>
              <a:ahLst/>
              <a:cxnLst/>
              <a:rect l="l" t="t" r="r" b="b"/>
              <a:pathLst>
                <a:path w="4644" h="6013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7" name="Google Shape;377;p19">
              <a:extLst>
                <a:ext uri="{FF2B5EF4-FFF2-40B4-BE49-F238E27FC236}">
                  <a16:creationId xmlns:a16="http://schemas.microsoft.com/office/drawing/2014/main" id="{9D768FB2-F32D-6A09-EE2C-0C4F2743114B}"/>
                </a:ext>
              </a:extLst>
            </p:cNvPr>
            <p:cNvSpPr/>
            <p:nvPr/>
          </p:nvSpPr>
          <p:spPr>
            <a:xfrm>
              <a:off x="1071816" y="1769540"/>
              <a:ext cx="1939277" cy="923442"/>
            </a:xfrm>
            <a:custGeom>
              <a:avLst/>
              <a:gdLst/>
              <a:ahLst/>
              <a:cxnLst/>
              <a:rect l="l" t="t" r="r" b="b"/>
              <a:pathLst>
                <a:path w="50710" h="24147" extrusionOk="0">
                  <a:moveTo>
                    <a:pt x="3549" y="0"/>
                  </a:moveTo>
                  <a:cubicBezTo>
                    <a:pt x="1584" y="0"/>
                    <a:pt x="1" y="1596"/>
                    <a:pt x="1" y="3548"/>
                  </a:cubicBezTo>
                  <a:lnTo>
                    <a:pt x="1" y="20598"/>
                  </a:lnTo>
                  <a:cubicBezTo>
                    <a:pt x="1" y="22563"/>
                    <a:pt x="1584" y="24146"/>
                    <a:pt x="3549" y="24146"/>
                  </a:cubicBezTo>
                  <a:lnTo>
                    <a:pt x="33124" y="24146"/>
                  </a:lnTo>
                  <a:cubicBezTo>
                    <a:pt x="35088" y="24146"/>
                    <a:pt x="36684" y="22563"/>
                    <a:pt x="36684" y="20598"/>
                  </a:cubicBezTo>
                  <a:lnTo>
                    <a:pt x="36684" y="18669"/>
                  </a:lnTo>
                  <a:cubicBezTo>
                    <a:pt x="36684" y="17538"/>
                    <a:pt x="37600" y="16621"/>
                    <a:pt x="38720" y="16621"/>
                  </a:cubicBezTo>
                  <a:lnTo>
                    <a:pt x="42030" y="16621"/>
                  </a:lnTo>
                  <a:cubicBezTo>
                    <a:pt x="42780" y="16621"/>
                    <a:pt x="43435" y="17026"/>
                    <a:pt x="43792" y="17633"/>
                  </a:cubicBezTo>
                  <a:cubicBezTo>
                    <a:pt x="44447" y="18705"/>
                    <a:pt x="45625" y="19419"/>
                    <a:pt x="46983" y="19419"/>
                  </a:cubicBezTo>
                  <a:cubicBezTo>
                    <a:pt x="49042" y="19419"/>
                    <a:pt x="50709" y="17753"/>
                    <a:pt x="50709" y="15693"/>
                  </a:cubicBezTo>
                  <a:cubicBezTo>
                    <a:pt x="50709" y="13633"/>
                    <a:pt x="49042" y="11954"/>
                    <a:pt x="46983" y="11954"/>
                  </a:cubicBezTo>
                  <a:cubicBezTo>
                    <a:pt x="45625" y="11954"/>
                    <a:pt x="44447" y="12680"/>
                    <a:pt x="43792" y="13752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16"/>
                  </a:cubicBezTo>
                  <a:lnTo>
                    <a:pt x="36684" y="3548"/>
                  </a:lnTo>
                  <a:cubicBezTo>
                    <a:pt x="36684" y="1596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8" name="Google Shape;378;p19">
              <a:extLst>
                <a:ext uri="{FF2B5EF4-FFF2-40B4-BE49-F238E27FC236}">
                  <a16:creationId xmlns:a16="http://schemas.microsoft.com/office/drawing/2014/main" id="{CBF8A3D4-60B0-2762-7FC9-96766F06CE8B}"/>
                </a:ext>
              </a:extLst>
            </p:cNvPr>
            <p:cNvSpPr/>
            <p:nvPr/>
          </p:nvSpPr>
          <p:spPr>
            <a:xfrm>
              <a:off x="2752419" y="2253534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9" name="Google Shape;379;p19">
              <a:extLst>
                <a:ext uri="{FF2B5EF4-FFF2-40B4-BE49-F238E27FC236}">
                  <a16:creationId xmlns:a16="http://schemas.microsoft.com/office/drawing/2014/main" id="{ED3832C1-FF82-B007-DD8B-BCB301E2D728}"/>
                </a:ext>
              </a:extLst>
            </p:cNvPr>
            <p:cNvSpPr/>
            <p:nvPr/>
          </p:nvSpPr>
          <p:spPr>
            <a:xfrm>
              <a:off x="935214" y="1799534"/>
              <a:ext cx="1606414" cy="368572"/>
            </a:xfrm>
            <a:custGeom>
              <a:avLst/>
              <a:gdLst/>
              <a:ahLst/>
              <a:cxnLst/>
              <a:rect l="l" t="t" r="r" b="b"/>
              <a:pathLst>
                <a:path w="42006" h="8656" extrusionOk="0">
                  <a:moveTo>
                    <a:pt x="3001" y="0"/>
                  </a:moveTo>
                  <a:cubicBezTo>
                    <a:pt x="2168" y="0"/>
                    <a:pt x="1417" y="333"/>
                    <a:pt x="882" y="881"/>
                  </a:cubicBezTo>
                  <a:cubicBezTo>
                    <a:pt x="334" y="1429"/>
                    <a:pt x="1" y="2179"/>
                    <a:pt x="1" y="3012"/>
                  </a:cubicBezTo>
                  <a:lnTo>
                    <a:pt x="1" y="8311"/>
                  </a:lnTo>
                  <a:lnTo>
                    <a:pt x="24" y="8656"/>
                  </a:lnTo>
                  <a:cubicBezTo>
                    <a:pt x="108" y="7977"/>
                    <a:pt x="417" y="7358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12"/>
                  </a:cubicBezTo>
                  <a:cubicBezTo>
                    <a:pt x="42006" y="2881"/>
                    <a:pt x="42006" y="2774"/>
                    <a:pt x="41982" y="2655"/>
                  </a:cubicBezTo>
                  <a:cubicBezTo>
                    <a:pt x="41815" y="1155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380;p19">
              <a:extLst>
                <a:ext uri="{FF2B5EF4-FFF2-40B4-BE49-F238E27FC236}">
                  <a16:creationId xmlns:a16="http://schemas.microsoft.com/office/drawing/2014/main" id="{ACAF32B3-5C8F-5A7C-0583-16353C7BA9A8}"/>
                </a:ext>
              </a:extLst>
            </p:cNvPr>
            <p:cNvSpPr/>
            <p:nvPr/>
          </p:nvSpPr>
          <p:spPr>
            <a:xfrm>
              <a:off x="935214" y="1769089"/>
              <a:ext cx="1606414" cy="384327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9026"/>
                  </a:lnTo>
                  <a:cubicBezTo>
                    <a:pt x="1" y="8192"/>
                    <a:pt x="334" y="7442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381;p19">
              <a:extLst>
                <a:ext uri="{FF2B5EF4-FFF2-40B4-BE49-F238E27FC236}">
                  <a16:creationId xmlns:a16="http://schemas.microsoft.com/office/drawing/2014/main" id="{1318E4BE-E0B9-33EC-934A-18639A1F15E9}"/>
                </a:ext>
              </a:extLst>
            </p:cNvPr>
            <p:cNvSpPr txBox="1"/>
            <p:nvPr/>
          </p:nvSpPr>
          <p:spPr>
            <a:xfrm>
              <a:off x="1081172" y="209766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Encode strings and batch them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Google Shape;382;p19">
              <a:extLst>
                <a:ext uri="{FF2B5EF4-FFF2-40B4-BE49-F238E27FC236}">
                  <a16:creationId xmlns:a16="http://schemas.microsoft.com/office/drawing/2014/main" id="{66A8AB38-C7E4-96B6-0049-864E509A39E8}"/>
                </a:ext>
              </a:extLst>
            </p:cNvPr>
            <p:cNvSpPr txBox="1"/>
            <p:nvPr/>
          </p:nvSpPr>
          <p:spPr>
            <a:xfrm>
              <a:off x="1071825" y="1769313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Encode + Batch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53" name="Google Shape;383;p19">
            <a:extLst>
              <a:ext uri="{FF2B5EF4-FFF2-40B4-BE49-F238E27FC236}">
                <a16:creationId xmlns:a16="http://schemas.microsoft.com/office/drawing/2014/main" id="{084199AD-7317-DD9D-F00C-7BE4CF52FE40}"/>
              </a:ext>
            </a:extLst>
          </p:cNvPr>
          <p:cNvGrpSpPr/>
          <p:nvPr/>
        </p:nvGrpSpPr>
        <p:grpSpPr>
          <a:xfrm>
            <a:off x="4520839" y="3009472"/>
            <a:ext cx="2143695" cy="979046"/>
            <a:chOff x="870114" y="3005721"/>
            <a:chExt cx="2143695" cy="979046"/>
          </a:xfrm>
        </p:grpSpPr>
        <p:sp>
          <p:nvSpPr>
            <p:cNvPr id="54" name="Google Shape;384;p19">
              <a:extLst>
                <a:ext uri="{FF2B5EF4-FFF2-40B4-BE49-F238E27FC236}">
                  <a16:creationId xmlns:a16="http://schemas.microsoft.com/office/drawing/2014/main" id="{16DBC7E0-A3F4-DA44-3C59-2E2EA36E3AFB}"/>
                </a:ext>
              </a:extLst>
            </p:cNvPr>
            <p:cNvSpPr/>
            <p:nvPr/>
          </p:nvSpPr>
          <p:spPr>
            <a:xfrm>
              <a:off x="1033115" y="3023886"/>
              <a:ext cx="1980694" cy="960881"/>
            </a:xfrm>
            <a:custGeom>
              <a:avLst/>
              <a:gdLst/>
              <a:ahLst/>
              <a:cxnLst/>
              <a:rect l="l" t="t" r="r" b="b"/>
              <a:pathLst>
                <a:path w="51793" h="25126" extrusionOk="0">
                  <a:moveTo>
                    <a:pt x="33544" y="0"/>
                  </a:moveTo>
                  <a:cubicBezTo>
                    <a:pt x="33507" y="0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7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5"/>
                    <a:pt x="4322" y="25124"/>
                  </a:cubicBezTo>
                  <a:lnTo>
                    <a:pt x="34231" y="24136"/>
                  </a:lnTo>
                  <a:cubicBezTo>
                    <a:pt x="36207" y="24076"/>
                    <a:pt x="37767" y="22433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8"/>
                    <a:pt x="39636" y="16433"/>
                  </a:cubicBezTo>
                  <a:lnTo>
                    <a:pt x="42982" y="16325"/>
                  </a:lnTo>
                  <a:cubicBezTo>
                    <a:pt x="43004" y="16325"/>
                    <a:pt x="43026" y="16324"/>
                    <a:pt x="43049" y="16324"/>
                  </a:cubicBezTo>
                  <a:cubicBezTo>
                    <a:pt x="43772" y="16324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8"/>
                    <a:pt x="48078" y="18957"/>
                  </a:cubicBezTo>
                  <a:cubicBezTo>
                    <a:pt x="50162" y="18885"/>
                    <a:pt x="51793" y="17159"/>
                    <a:pt x="51721" y="15099"/>
                  </a:cubicBezTo>
                  <a:cubicBezTo>
                    <a:pt x="51663" y="13076"/>
                    <a:pt x="49974" y="11490"/>
                    <a:pt x="47940" y="11490"/>
                  </a:cubicBezTo>
                  <a:cubicBezTo>
                    <a:pt x="47903" y="11490"/>
                    <a:pt x="47865" y="11490"/>
                    <a:pt x="47828" y="11491"/>
                  </a:cubicBezTo>
                  <a:cubicBezTo>
                    <a:pt x="46459" y="11539"/>
                    <a:pt x="45292" y="12301"/>
                    <a:pt x="44661" y="13396"/>
                  </a:cubicBezTo>
                  <a:cubicBezTo>
                    <a:pt x="44327" y="14004"/>
                    <a:pt x="43673" y="14432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6"/>
                    <a:pt x="39511" y="14576"/>
                  </a:cubicBezTo>
                  <a:cubicBezTo>
                    <a:pt x="38397" y="14576"/>
                    <a:pt x="37480" y="13696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0"/>
                    <a:pt x="33544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5" name="Google Shape;385;p19">
              <a:extLst>
                <a:ext uri="{FF2B5EF4-FFF2-40B4-BE49-F238E27FC236}">
                  <a16:creationId xmlns:a16="http://schemas.microsoft.com/office/drawing/2014/main" id="{7239C8BB-1E2E-F5DD-E42A-A3C2B808DB81}"/>
                </a:ext>
              </a:extLst>
            </p:cNvPr>
            <p:cNvSpPr/>
            <p:nvPr/>
          </p:nvSpPr>
          <p:spPr>
            <a:xfrm>
              <a:off x="933838" y="3261739"/>
              <a:ext cx="177598" cy="256061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7"/>
                    <a:pt x="1" y="2179"/>
                    <a:pt x="1" y="3001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6" name="Google Shape;386;p19">
              <a:extLst>
                <a:ext uri="{FF2B5EF4-FFF2-40B4-BE49-F238E27FC236}">
                  <a16:creationId xmlns:a16="http://schemas.microsoft.com/office/drawing/2014/main" id="{A0DB2FD9-4771-C3C3-C7CE-8291A2AA7B56}"/>
                </a:ext>
              </a:extLst>
            </p:cNvPr>
            <p:cNvSpPr/>
            <p:nvPr/>
          </p:nvSpPr>
          <p:spPr>
            <a:xfrm>
              <a:off x="1071816" y="3005721"/>
              <a:ext cx="1939277" cy="923901"/>
            </a:xfrm>
            <a:custGeom>
              <a:avLst/>
              <a:gdLst/>
              <a:ahLst/>
              <a:cxnLst/>
              <a:rect l="l" t="t" r="r" b="b"/>
              <a:pathLst>
                <a:path w="50710" h="24159" extrusionOk="0">
                  <a:moveTo>
                    <a:pt x="3549" y="1"/>
                  </a:moveTo>
                  <a:cubicBezTo>
                    <a:pt x="1584" y="1"/>
                    <a:pt x="1" y="1596"/>
                    <a:pt x="1" y="3561"/>
                  </a:cubicBezTo>
                  <a:lnTo>
                    <a:pt x="1" y="20610"/>
                  </a:lnTo>
                  <a:cubicBezTo>
                    <a:pt x="1" y="22563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3"/>
                    <a:pt x="36684" y="20610"/>
                  </a:cubicBezTo>
                  <a:lnTo>
                    <a:pt x="36684" y="18670"/>
                  </a:lnTo>
                  <a:cubicBezTo>
                    <a:pt x="36684" y="17550"/>
                    <a:pt x="37600" y="16634"/>
                    <a:pt x="38720" y="16634"/>
                  </a:cubicBezTo>
                  <a:lnTo>
                    <a:pt x="42030" y="16634"/>
                  </a:lnTo>
                  <a:cubicBezTo>
                    <a:pt x="42780" y="16634"/>
                    <a:pt x="43435" y="17039"/>
                    <a:pt x="43792" y="17634"/>
                  </a:cubicBezTo>
                  <a:cubicBezTo>
                    <a:pt x="44447" y="18705"/>
                    <a:pt x="45625" y="19432"/>
                    <a:pt x="46983" y="19432"/>
                  </a:cubicBezTo>
                  <a:cubicBezTo>
                    <a:pt x="49042" y="19432"/>
                    <a:pt x="50709" y="17765"/>
                    <a:pt x="50709" y="15693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3"/>
                    <a:pt x="43792" y="13764"/>
                  </a:cubicBezTo>
                  <a:cubicBezTo>
                    <a:pt x="43435" y="14360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8"/>
                    <a:pt x="36684" y="12728"/>
                  </a:cubicBezTo>
                  <a:lnTo>
                    <a:pt x="36684" y="3561"/>
                  </a:lnTo>
                  <a:cubicBezTo>
                    <a:pt x="36684" y="1596"/>
                    <a:pt x="35088" y="1"/>
                    <a:pt x="33124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387;p19">
              <a:extLst>
                <a:ext uri="{FF2B5EF4-FFF2-40B4-BE49-F238E27FC236}">
                  <a16:creationId xmlns:a16="http://schemas.microsoft.com/office/drawing/2014/main" id="{A9D8ABE3-F548-E553-F7B2-E70F082E0E49}"/>
                </a:ext>
              </a:extLst>
            </p:cNvPr>
            <p:cNvSpPr/>
            <p:nvPr/>
          </p:nvSpPr>
          <p:spPr>
            <a:xfrm>
              <a:off x="2752419" y="3489753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69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69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8" name="Google Shape;388;p19">
              <a:extLst>
                <a:ext uri="{FF2B5EF4-FFF2-40B4-BE49-F238E27FC236}">
                  <a16:creationId xmlns:a16="http://schemas.microsoft.com/office/drawing/2014/main" id="{B705722C-D58B-8B4C-A239-94A6CA47A99A}"/>
                </a:ext>
              </a:extLst>
            </p:cNvPr>
            <p:cNvSpPr/>
            <p:nvPr/>
          </p:nvSpPr>
          <p:spPr>
            <a:xfrm>
              <a:off x="935214" y="3035660"/>
              <a:ext cx="1606414" cy="369104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0"/>
                    <a:pt x="882" y="6894"/>
                  </a:cubicBezTo>
                  <a:cubicBezTo>
                    <a:pt x="1417" y="6358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5"/>
                  </a:cubicBezTo>
                  <a:cubicBezTo>
                    <a:pt x="41815" y="1167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9" name="Google Shape;389;p19">
              <a:extLst>
                <a:ext uri="{FF2B5EF4-FFF2-40B4-BE49-F238E27FC236}">
                  <a16:creationId xmlns:a16="http://schemas.microsoft.com/office/drawing/2014/main" id="{C03FCBF4-C92F-D037-140C-8C80B44B94E9}"/>
                </a:ext>
              </a:extLst>
            </p:cNvPr>
            <p:cNvSpPr/>
            <p:nvPr/>
          </p:nvSpPr>
          <p:spPr>
            <a:xfrm>
              <a:off x="935214" y="3005729"/>
              <a:ext cx="1606414" cy="383794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68"/>
                    <a:pt x="1" y="3001"/>
                  </a:cubicBezTo>
                  <a:lnTo>
                    <a:pt x="1" y="9014"/>
                  </a:lnTo>
                  <a:cubicBezTo>
                    <a:pt x="1" y="8192"/>
                    <a:pt x="334" y="7430"/>
                    <a:pt x="882" y="6895"/>
                  </a:cubicBezTo>
                  <a:cubicBezTo>
                    <a:pt x="1417" y="6347"/>
                    <a:pt x="2168" y="6014"/>
                    <a:pt x="3001" y="6014"/>
                  </a:cubicBezTo>
                  <a:lnTo>
                    <a:pt x="39006" y="6014"/>
                  </a:lnTo>
                  <a:cubicBezTo>
                    <a:pt x="40660" y="6014"/>
                    <a:pt x="42006" y="4668"/>
                    <a:pt x="42006" y="3001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60" name="Google Shape;390;p19">
              <a:extLst>
                <a:ext uri="{FF2B5EF4-FFF2-40B4-BE49-F238E27FC236}">
                  <a16:creationId xmlns:a16="http://schemas.microsoft.com/office/drawing/2014/main" id="{EC0BD778-21B1-0382-06E7-2622FA4F4F7D}"/>
                </a:ext>
              </a:extLst>
            </p:cNvPr>
            <p:cNvSpPr txBox="1"/>
            <p:nvPr/>
          </p:nvSpPr>
          <p:spPr>
            <a:xfrm>
              <a:off x="1081172" y="333811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Generate output and decode it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61" name="Google Shape;391;p19">
              <a:extLst>
                <a:ext uri="{FF2B5EF4-FFF2-40B4-BE49-F238E27FC236}">
                  <a16:creationId xmlns:a16="http://schemas.microsoft.com/office/drawing/2014/main" id="{31B2DCA4-797C-E57A-59A8-D8D8909F5A08}"/>
                </a:ext>
              </a:extLst>
            </p:cNvPr>
            <p:cNvSpPr txBox="1"/>
            <p:nvPr/>
          </p:nvSpPr>
          <p:spPr>
            <a:xfrm>
              <a:off x="870114" y="3009070"/>
              <a:ext cx="1747259" cy="2659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Generate + Decode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sp>
        <p:nvSpPr>
          <p:cNvPr id="63" name="Google Shape;364;p19">
            <a:extLst>
              <a:ext uri="{FF2B5EF4-FFF2-40B4-BE49-F238E27FC236}">
                <a16:creationId xmlns:a16="http://schemas.microsoft.com/office/drawing/2014/main" id="{CC9803FA-7550-19F1-A06E-D959CE3FBC19}"/>
              </a:ext>
            </a:extLst>
          </p:cNvPr>
          <p:cNvSpPr txBox="1"/>
          <p:nvPr/>
        </p:nvSpPr>
        <p:spPr>
          <a:xfrm>
            <a:off x="6846175" y="1144475"/>
            <a:ext cx="157998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Preprocess Data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</p:spTree>
    <p:extLst>
      <p:ext uri="{BB962C8B-B14F-4D97-AF65-F5344CB8AC3E}">
        <p14:creationId xmlns:p14="http://schemas.microsoft.com/office/powerpoint/2010/main" val="25651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02364" y="1460697"/>
            <a:ext cx="3454616" cy="2925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/>
                <a:cs typeface="Arial"/>
              </a:rPr>
              <a:t>Preprocess Data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SzPct val="150000"/>
            </a:pPr>
            <a:endParaRPr lang="en-US" sz="400" b="0" dirty="0">
              <a:latin typeface="Arial"/>
              <a:cs typeface="Arial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We first parsed the text data to extract the prompts and associated coded solutions and put them into a data frame, but the model wouldn’t train</a:t>
            </a:r>
          </a:p>
          <a:p>
            <a:pPr>
              <a:buSzPct val="150000"/>
            </a:pPr>
            <a:endParaRPr lang="en-US" sz="400" b="0" dirty="0">
              <a:latin typeface="Arial"/>
              <a:cs typeface="Arial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We then concatenated the data into one string, which proved to be the solution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2</a:t>
            </a:r>
          </a:p>
        </p:txBody>
      </p:sp>
      <p:sp>
        <p:nvSpPr>
          <p:cNvPr id="6" name="Google Shape;336;p19">
            <a:extLst>
              <a:ext uri="{FF2B5EF4-FFF2-40B4-BE49-F238E27FC236}">
                <a16:creationId xmlns:a16="http://schemas.microsoft.com/office/drawing/2014/main" id="{3A46E835-1E6D-22F7-161E-6E2B33500B1E}"/>
              </a:ext>
            </a:extLst>
          </p:cNvPr>
          <p:cNvSpPr/>
          <p:nvPr/>
        </p:nvSpPr>
        <p:spPr>
          <a:xfrm>
            <a:off x="6495888" y="-30149"/>
            <a:ext cx="46774" cy="5203797"/>
          </a:xfrm>
          <a:custGeom>
            <a:avLst/>
            <a:gdLst/>
            <a:ahLst/>
            <a:cxnLst/>
            <a:rect l="l" t="t" r="r" b="b"/>
            <a:pathLst>
              <a:path w="1513" h="166415" extrusionOk="0">
                <a:moveTo>
                  <a:pt x="751" y="1"/>
                </a:moveTo>
                <a:cubicBezTo>
                  <a:pt x="346" y="1"/>
                  <a:pt x="1" y="334"/>
                  <a:pt x="1" y="751"/>
                </a:cubicBezTo>
                <a:lnTo>
                  <a:pt x="1" y="165664"/>
                </a:lnTo>
                <a:cubicBezTo>
                  <a:pt x="1" y="166081"/>
                  <a:pt x="334" y="166414"/>
                  <a:pt x="751" y="166414"/>
                </a:cubicBezTo>
                <a:cubicBezTo>
                  <a:pt x="1167" y="166414"/>
                  <a:pt x="1513" y="166081"/>
                  <a:pt x="1513" y="165664"/>
                </a:cubicBezTo>
                <a:lnTo>
                  <a:pt x="1513" y="751"/>
                </a:lnTo>
                <a:cubicBezTo>
                  <a:pt x="1513" y="334"/>
                  <a:pt x="1167" y="1"/>
                  <a:pt x="75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" name="Google Shape;338;p19">
            <a:extLst>
              <a:ext uri="{FF2B5EF4-FFF2-40B4-BE49-F238E27FC236}">
                <a16:creationId xmlns:a16="http://schemas.microsoft.com/office/drawing/2014/main" id="{B074DB79-C097-53BC-5210-BB95DA6E04BF}"/>
              </a:ext>
            </a:extLst>
          </p:cNvPr>
          <p:cNvGrpSpPr/>
          <p:nvPr/>
        </p:nvGrpSpPr>
        <p:grpSpPr>
          <a:xfrm>
            <a:off x="6374003" y="3627360"/>
            <a:ext cx="2078594" cy="979496"/>
            <a:chOff x="2723278" y="3623609"/>
            <a:chExt cx="2078594" cy="979496"/>
          </a:xfrm>
        </p:grpSpPr>
        <p:sp>
          <p:nvSpPr>
            <p:cNvPr id="9" name="Google Shape;339;p19">
              <a:extLst>
                <a:ext uri="{FF2B5EF4-FFF2-40B4-BE49-F238E27FC236}">
                  <a16:creationId xmlns:a16="http://schemas.microsoft.com/office/drawing/2014/main" id="{8925CA10-1110-6665-B945-65EB780010E2}"/>
                </a:ext>
              </a:extLst>
            </p:cNvPr>
            <p:cNvSpPr/>
            <p:nvPr/>
          </p:nvSpPr>
          <p:spPr>
            <a:xfrm>
              <a:off x="2723278" y="3642186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0"/>
                  </a:moveTo>
                  <a:cubicBezTo>
                    <a:pt x="16310" y="0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6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4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50" y="18958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89"/>
                    <a:pt x="8020" y="16325"/>
                    <a:pt x="8743" y="16325"/>
                  </a:cubicBezTo>
                  <a:cubicBezTo>
                    <a:pt x="8765" y="16325"/>
                    <a:pt x="8788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69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6"/>
                    <a:pt x="47570" y="25126"/>
                  </a:cubicBezTo>
                  <a:cubicBezTo>
                    <a:pt x="49509" y="25126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3"/>
                    <a:pt x="50245" y="1050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0"/>
                    <a:pt x="18228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340;p19">
              <a:extLst>
                <a:ext uri="{FF2B5EF4-FFF2-40B4-BE49-F238E27FC236}">
                  <a16:creationId xmlns:a16="http://schemas.microsoft.com/office/drawing/2014/main" id="{0906E6F3-139D-7609-195B-DA03E6A6FD27}"/>
                </a:ext>
              </a:extLst>
            </p:cNvPr>
            <p:cNvSpPr/>
            <p:nvPr/>
          </p:nvSpPr>
          <p:spPr>
            <a:xfrm>
              <a:off x="4624272" y="3879385"/>
              <a:ext cx="177598" cy="256288"/>
            </a:xfrm>
            <a:custGeom>
              <a:avLst/>
              <a:gdLst/>
              <a:ahLst/>
              <a:cxnLst/>
              <a:rect l="l" t="t" r="r" b="b"/>
              <a:pathLst>
                <a:path w="4644" h="6025" extrusionOk="0">
                  <a:moveTo>
                    <a:pt x="0" y="0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3"/>
                  </a:cubicBezTo>
                  <a:cubicBezTo>
                    <a:pt x="3215" y="346"/>
                    <a:pt x="2465" y="0"/>
                    <a:pt x="1643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1" name="Google Shape;341;p19">
              <a:extLst>
                <a:ext uri="{FF2B5EF4-FFF2-40B4-BE49-F238E27FC236}">
                  <a16:creationId xmlns:a16="http://schemas.microsoft.com/office/drawing/2014/main" id="{84C4A120-70DA-A173-FED8-A5998721CA38}"/>
                </a:ext>
              </a:extLst>
            </p:cNvPr>
            <p:cNvSpPr/>
            <p:nvPr/>
          </p:nvSpPr>
          <p:spPr>
            <a:xfrm>
              <a:off x="2725573" y="3624059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0"/>
                  </a:moveTo>
                  <a:cubicBezTo>
                    <a:pt x="15633" y="0"/>
                    <a:pt x="14037" y="1596"/>
                    <a:pt x="14037" y="3548"/>
                  </a:cubicBezTo>
                  <a:lnTo>
                    <a:pt x="14037" y="12716"/>
                  </a:lnTo>
                  <a:cubicBezTo>
                    <a:pt x="14037" y="13847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59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1"/>
                    <a:pt x="3739" y="19431"/>
                  </a:cubicBezTo>
                  <a:cubicBezTo>
                    <a:pt x="5084" y="19431"/>
                    <a:pt x="6275" y="18705"/>
                    <a:pt x="6929" y="17633"/>
                  </a:cubicBezTo>
                  <a:cubicBezTo>
                    <a:pt x="7287" y="17026"/>
                    <a:pt x="7941" y="16633"/>
                    <a:pt x="8692" y="16633"/>
                  </a:cubicBezTo>
                  <a:lnTo>
                    <a:pt x="11990" y="16633"/>
                  </a:lnTo>
                  <a:cubicBezTo>
                    <a:pt x="13121" y="16633"/>
                    <a:pt x="14037" y="17538"/>
                    <a:pt x="14037" y="18669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48"/>
                  </a:lnTo>
                  <a:cubicBezTo>
                    <a:pt x="50721" y="1596"/>
                    <a:pt x="49137" y="0"/>
                    <a:pt x="47173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2" name="Google Shape;342;p19">
              <a:extLst>
                <a:ext uri="{FF2B5EF4-FFF2-40B4-BE49-F238E27FC236}">
                  <a16:creationId xmlns:a16="http://schemas.microsoft.com/office/drawing/2014/main" id="{B834AEBE-67E0-14A7-CC93-C735E7163B8D}"/>
                </a:ext>
              </a:extLst>
            </p:cNvPr>
            <p:cNvSpPr/>
            <p:nvPr/>
          </p:nvSpPr>
          <p:spPr>
            <a:xfrm>
              <a:off x="2752419" y="410805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3" name="Google Shape;343;p19">
              <a:extLst>
                <a:ext uri="{FF2B5EF4-FFF2-40B4-BE49-F238E27FC236}">
                  <a16:creationId xmlns:a16="http://schemas.microsoft.com/office/drawing/2014/main" id="{86409286-4934-7671-5489-252DF7A4ED49}"/>
                </a:ext>
              </a:extLst>
            </p:cNvPr>
            <p:cNvSpPr/>
            <p:nvPr/>
          </p:nvSpPr>
          <p:spPr>
            <a:xfrm>
              <a:off x="3195458" y="3654023"/>
              <a:ext cx="1606414" cy="368715"/>
            </a:xfrm>
            <a:custGeom>
              <a:avLst/>
              <a:gdLst/>
              <a:ahLst/>
              <a:cxnLst/>
              <a:rect l="l" t="t" r="r" b="b"/>
              <a:pathLst>
                <a:path w="42006" h="8668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4"/>
                    <a:pt x="0" y="2893"/>
                    <a:pt x="0" y="3012"/>
                  </a:cubicBezTo>
                  <a:cubicBezTo>
                    <a:pt x="0" y="4667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7"/>
                    <a:pt x="41982" y="8668"/>
                  </a:cubicBezTo>
                  <a:lnTo>
                    <a:pt x="42005" y="8311"/>
                  </a:lnTo>
                  <a:lnTo>
                    <a:pt x="42005" y="3012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5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344;p19">
              <a:extLst>
                <a:ext uri="{FF2B5EF4-FFF2-40B4-BE49-F238E27FC236}">
                  <a16:creationId xmlns:a16="http://schemas.microsoft.com/office/drawing/2014/main" id="{92DFED7A-21BD-E3D5-1B8A-CDD2DECD66BC}"/>
                </a:ext>
              </a:extLst>
            </p:cNvPr>
            <p:cNvSpPr/>
            <p:nvPr/>
          </p:nvSpPr>
          <p:spPr>
            <a:xfrm>
              <a:off x="3195458" y="3623609"/>
              <a:ext cx="1606414" cy="383943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59"/>
                    <a:pt x="41124" y="6906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29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5" name="Google Shape;345;p19">
              <a:extLst>
                <a:ext uri="{FF2B5EF4-FFF2-40B4-BE49-F238E27FC236}">
                  <a16:creationId xmlns:a16="http://schemas.microsoft.com/office/drawing/2014/main" id="{6CD84315-A122-FEF7-7737-0C5BC7B7AE70}"/>
                </a:ext>
              </a:extLst>
            </p:cNvPr>
            <p:cNvSpPr txBox="1"/>
            <p:nvPr/>
          </p:nvSpPr>
          <p:spPr>
            <a:xfrm>
              <a:off x="3265722" y="3955988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ke sure output solves prompts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6" name="Google Shape;346;p19">
              <a:extLst>
                <a:ext uri="{FF2B5EF4-FFF2-40B4-BE49-F238E27FC236}">
                  <a16:creationId xmlns:a16="http://schemas.microsoft.com/office/drawing/2014/main" id="{61BEBF24-5F49-AB7A-15D1-508CEE6C9DD8}"/>
                </a:ext>
              </a:extLst>
            </p:cNvPr>
            <p:cNvSpPr txBox="1"/>
            <p:nvPr/>
          </p:nvSpPr>
          <p:spPr>
            <a:xfrm>
              <a:off x="3195450" y="36238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est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17" name="Google Shape;347;p19">
            <a:extLst>
              <a:ext uri="{FF2B5EF4-FFF2-40B4-BE49-F238E27FC236}">
                <a16:creationId xmlns:a16="http://schemas.microsoft.com/office/drawing/2014/main" id="{2C78506E-A503-BD61-6D94-1C8F5486D44E}"/>
              </a:ext>
            </a:extLst>
          </p:cNvPr>
          <p:cNvGrpSpPr/>
          <p:nvPr/>
        </p:nvGrpSpPr>
        <p:grpSpPr>
          <a:xfrm>
            <a:off x="6374003" y="2391176"/>
            <a:ext cx="2078594" cy="979041"/>
            <a:chOff x="2723278" y="2387425"/>
            <a:chExt cx="2078594" cy="979041"/>
          </a:xfrm>
        </p:grpSpPr>
        <p:sp>
          <p:nvSpPr>
            <p:cNvPr id="18" name="Google Shape;348;p19">
              <a:extLst>
                <a:ext uri="{FF2B5EF4-FFF2-40B4-BE49-F238E27FC236}">
                  <a16:creationId xmlns:a16="http://schemas.microsoft.com/office/drawing/2014/main" id="{18E69FBC-3E13-2EE9-8FB7-B3FCF4AA8B04}"/>
                </a:ext>
              </a:extLst>
            </p:cNvPr>
            <p:cNvSpPr/>
            <p:nvPr/>
          </p:nvSpPr>
          <p:spPr>
            <a:xfrm>
              <a:off x="2723278" y="240554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49" y="1"/>
                  </a:moveTo>
                  <a:cubicBezTo>
                    <a:pt x="16321" y="1"/>
                    <a:pt x="14715" y="1515"/>
                    <a:pt x="14657" y="3431"/>
                  </a:cubicBezTo>
                  <a:lnTo>
                    <a:pt x="14348" y="12599"/>
                  </a:lnTo>
                  <a:cubicBezTo>
                    <a:pt x="14312" y="13708"/>
                    <a:pt x="13396" y="14577"/>
                    <a:pt x="12283" y="14577"/>
                  </a:cubicBezTo>
                  <a:cubicBezTo>
                    <a:pt x="12261" y="14577"/>
                    <a:pt x="12239" y="14576"/>
                    <a:pt x="12216" y="14576"/>
                  </a:cubicBezTo>
                  <a:lnTo>
                    <a:pt x="8871" y="14468"/>
                  </a:lnTo>
                  <a:cubicBezTo>
                    <a:pt x="8121" y="14433"/>
                    <a:pt x="7466" y="14016"/>
                    <a:pt x="7132" y="13397"/>
                  </a:cubicBezTo>
                  <a:cubicBezTo>
                    <a:pt x="6501" y="12301"/>
                    <a:pt x="5334" y="11539"/>
                    <a:pt x="3965" y="11504"/>
                  </a:cubicBezTo>
                  <a:cubicBezTo>
                    <a:pt x="3921" y="11502"/>
                    <a:pt x="3876" y="11501"/>
                    <a:pt x="3832" y="11501"/>
                  </a:cubicBezTo>
                  <a:cubicBezTo>
                    <a:pt x="1807" y="11501"/>
                    <a:pt x="130" y="13084"/>
                    <a:pt x="60" y="15099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60" y="18959"/>
                    <a:pt x="3806" y="18959"/>
                    <a:pt x="3850" y="18959"/>
                  </a:cubicBezTo>
                  <a:cubicBezTo>
                    <a:pt x="5164" y="18959"/>
                    <a:pt x="6322" y="18291"/>
                    <a:pt x="7001" y="17266"/>
                  </a:cubicBezTo>
                  <a:cubicBezTo>
                    <a:pt x="7371" y="16700"/>
                    <a:pt x="8021" y="16325"/>
                    <a:pt x="8745" y="16325"/>
                  </a:cubicBezTo>
                  <a:cubicBezTo>
                    <a:pt x="8767" y="16325"/>
                    <a:pt x="8789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21"/>
                    <a:pt x="14157" y="18540"/>
                  </a:cubicBezTo>
                  <a:lnTo>
                    <a:pt x="14097" y="20481"/>
                  </a:lnTo>
                  <a:cubicBezTo>
                    <a:pt x="14026" y="22434"/>
                    <a:pt x="15586" y="24077"/>
                    <a:pt x="17562" y="24148"/>
                  </a:cubicBezTo>
                  <a:lnTo>
                    <a:pt x="47459" y="25124"/>
                  </a:lnTo>
                  <a:cubicBezTo>
                    <a:pt x="47503" y="25126"/>
                    <a:pt x="47548" y="25127"/>
                    <a:pt x="47592" y="25127"/>
                  </a:cubicBezTo>
                  <a:cubicBezTo>
                    <a:pt x="49520" y="25127"/>
                    <a:pt x="51104" y="23616"/>
                    <a:pt x="51174" y="21695"/>
                  </a:cubicBezTo>
                  <a:lnTo>
                    <a:pt x="51733" y="4658"/>
                  </a:lnTo>
                  <a:cubicBezTo>
                    <a:pt x="51793" y="2693"/>
                    <a:pt x="50245" y="1050"/>
                    <a:pt x="48257" y="991"/>
                  </a:cubicBezTo>
                  <a:lnTo>
                    <a:pt x="18360" y="2"/>
                  </a:lnTo>
                  <a:cubicBezTo>
                    <a:pt x="18323" y="1"/>
                    <a:pt x="18286" y="1"/>
                    <a:pt x="18249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349;p19">
              <a:extLst>
                <a:ext uri="{FF2B5EF4-FFF2-40B4-BE49-F238E27FC236}">
                  <a16:creationId xmlns:a16="http://schemas.microsoft.com/office/drawing/2014/main" id="{010DEEC5-A79E-ABDD-11EB-A0B695831937}"/>
                </a:ext>
              </a:extLst>
            </p:cNvPr>
            <p:cNvSpPr/>
            <p:nvPr/>
          </p:nvSpPr>
          <p:spPr>
            <a:xfrm>
              <a:off x="4624272" y="264341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0" y="1"/>
                  </a:moveTo>
                  <a:lnTo>
                    <a:pt x="0" y="6014"/>
                  </a:lnTo>
                  <a:lnTo>
                    <a:pt x="1643" y="6014"/>
                  </a:lnTo>
                  <a:cubicBezTo>
                    <a:pt x="3298" y="6014"/>
                    <a:pt x="4643" y="4668"/>
                    <a:pt x="4643" y="3001"/>
                  </a:cubicBezTo>
                  <a:cubicBezTo>
                    <a:pt x="4643" y="2180"/>
                    <a:pt x="4310" y="1430"/>
                    <a:pt x="3762" y="882"/>
                  </a:cubicBezTo>
                  <a:cubicBezTo>
                    <a:pt x="3215" y="334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0" name="Google Shape;350;p19">
              <a:extLst>
                <a:ext uri="{FF2B5EF4-FFF2-40B4-BE49-F238E27FC236}">
                  <a16:creationId xmlns:a16="http://schemas.microsoft.com/office/drawing/2014/main" id="{C0386103-0374-8EAA-D897-EB6A769E0CE7}"/>
                </a:ext>
              </a:extLst>
            </p:cNvPr>
            <p:cNvSpPr/>
            <p:nvPr/>
          </p:nvSpPr>
          <p:spPr>
            <a:xfrm>
              <a:off x="2725573" y="2387840"/>
              <a:ext cx="1939698" cy="923442"/>
            </a:xfrm>
            <a:custGeom>
              <a:avLst/>
              <a:gdLst/>
              <a:ahLst/>
              <a:cxnLst/>
              <a:rect l="l" t="t" r="r" b="b"/>
              <a:pathLst>
                <a:path w="50721" h="24147" extrusionOk="0">
                  <a:moveTo>
                    <a:pt x="17597" y="1"/>
                  </a:moveTo>
                  <a:cubicBezTo>
                    <a:pt x="15633" y="1"/>
                    <a:pt x="14037" y="1585"/>
                    <a:pt x="14037" y="3549"/>
                  </a:cubicBezTo>
                  <a:lnTo>
                    <a:pt x="14037" y="12717"/>
                  </a:lnTo>
                  <a:cubicBezTo>
                    <a:pt x="14037" y="13848"/>
                    <a:pt x="13121" y="14765"/>
                    <a:pt x="11990" y="14765"/>
                  </a:cubicBezTo>
                  <a:lnTo>
                    <a:pt x="8692" y="14765"/>
                  </a:lnTo>
                  <a:cubicBezTo>
                    <a:pt x="7941" y="14765"/>
                    <a:pt x="7287" y="14360"/>
                    <a:pt x="6929" y="13753"/>
                  </a:cubicBezTo>
                  <a:cubicBezTo>
                    <a:pt x="6275" y="12681"/>
                    <a:pt x="5084" y="11955"/>
                    <a:pt x="3739" y="11955"/>
                  </a:cubicBezTo>
                  <a:cubicBezTo>
                    <a:pt x="1679" y="11955"/>
                    <a:pt x="0" y="13634"/>
                    <a:pt x="0" y="15693"/>
                  </a:cubicBezTo>
                  <a:cubicBezTo>
                    <a:pt x="0" y="17753"/>
                    <a:pt x="1679" y="19420"/>
                    <a:pt x="3739" y="19420"/>
                  </a:cubicBezTo>
                  <a:cubicBezTo>
                    <a:pt x="5084" y="19420"/>
                    <a:pt x="6275" y="18706"/>
                    <a:pt x="6929" y="17622"/>
                  </a:cubicBezTo>
                  <a:cubicBezTo>
                    <a:pt x="7287" y="17027"/>
                    <a:pt x="7941" y="16622"/>
                    <a:pt x="8692" y="16622"/>
                  </a:cubicBezTo>
                  <a:lnTo>
                    <a:pt x="11990" y="16622"/>
                  </a:lnTo>
                  <a:cubicBezTo>
                    <a:pt x="13121" y="16622"/>
                    <a:pt x="14037" y="17539"/>
                    <a:pt x="14037" y="18670"/>
                  </a:cubicBezTo>
                  <a:lnTo>
                    <a:pt x="14037" y="20599"/>
                  </a:lnTo>
                  <a:cubicBezTo>
                    <a:pt x="14037" y="22551"/>
                    <a:pt x="15633" y="24147"/>
                    <a:pt x="17597" y="24147"/>
                  </a:cubicBezTo>
                  <a:lnTo>
                    <a:pt x="47173" y="24147"/>
                  </a:lnTo>
                  <a:cubicBezTo>
                    <a:pt x="49137" y="24147"/>
                    <a:pt x="50721" y="22551"/>
                    <a:pt x="50721" y="20599"/>
                  </a:cubicBezTo>
                  <a:lnTo>
                    <a:pt x="50721" y="3549"/>
                  </a:lnTo>
                  <a:cubicBezTo>
                    <a:pt x="50721" y="1585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1" name="Google Shape;351;p19">
              <a:extLst>
                <a:ext uri="{FF2B5EF4-FFF2-40B4-BE49-F238E27FC236}">
                  <a16:creationId xmlns:a16="http://schemas.microsoft.com/office/drawing/2014/main" id="{0F9E0DF7-73DD-BD0E-B8EF-9C7B360CAD62}"/>
                </a:ext>
              </a:extLst>
            </p:cNvPr>
            <p:cNvSpPr/>
            <p:nvPr/>
          </p:nvSpPr>
          <p:spPr>
            <a:xfrm>
              <a:off x="2752419" y="287187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0"/>
                  </a:moveTo>
                  <a:cubicBezTo>
                    <a:pt x="1358" y="0"/>
                    <a:pt x="0" y="1358"/>
                    <a:pt x="0" y="3036"/>
                  </a:cubicBezTo>
                  <a:cubicBezTo>
                    <a:pt x="0" y="4715"/>
                    <a:pt x="1358" y="6072"/>
                    <a:pt x="3037" y="6072"/>
                  </a:cubicBezTo>
                  <a:cubicBezTo>
                    <a:pt x="4715" y="6072"/>
                    <a:pt x="6073" y="4715"/>
                    <a:pt x="6073" y="3036"/>
                  </a:cubicBezTo>
                  <a:cubicBezTo>
                    <a:pt x="6073" y="1358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352;p19">
              <a:extLst>
                <a:ext uri="{FF2B5EF4-FFF2-40B4-BE49-F238E27FC236}">
                  <a16:creationId xmlns:a16="http://schemas.microsoft.com/office/drawing/2014/main" id="{BE1E2195-21A6-BB86-3C83-F18FD79DF686}"/>
                </a:ext>
              </a:extLst>
            </p:cNvPr>
            <p:cNvSpPr/>
            <p:nvPr/>
          </p:nvSpPr>
          <p:spPr>
            <a:xfrm>
              <a:off x="3195458" y="241731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1465" y="1"/>
                    <a:pt x="191" y="1168"/>
                    <a:pt x="12" y="2656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80"/>
                    <a:pt x="1346" y="6025"/>
                    <a:pt x="3001" y="6025"/>
                  </a:cubicBezTo>
                  <a:lnTo>
                    <a:pt x="39005" y="6025"/>
                  </a:lnTo>
                  <a:cubicBezTo>
                    <a:pt x="39827" y="6025"/>
                    <a:pt x="40589" y="6359"/>
                    <a:pt x="41124" y="6906"/>
                  </a:cubicBezTo>
                  <a:cubicBezTo>
                    <a:pt x="41589" y="7371"/>
                    <a:pt x="41898" y="7990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92"/>
                    <a:pt x="41672" y="1430"/>
                    <a:pt x="41124" y="894"/>
                  </a:cubicBezTo>
                  <a:cubicBezTo>
                    <a:pt x="40589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3" name="Google Shape;353;p19">
              <a:extLst>
                <a:ext uri="{FF2B5EF4-FFF2-40B4-BE49-F238E27FC236}">
                  <a16:creationId xmlns:a16="http://schemas.microsoft.com/office/drawing/2014/main" id="{43A4A958-CE97-F05E-A352-0D4F34078236}"/>
                </a:ext>
              </a:extLst>
            </p:cNvPr>
            <p:cNvSpPr/>
            <p:nvPr/>
          </p:nvSpPr>
          <p:spPr>
            <a:xfrm>
              <a:off x="3195458" y="2387428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1346" y="0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46"/>
                    <a:pt x="41124" y="6894"/>
                  </a:cubicBezTo>
                  <a:cubicBezTo>
                    <a:pt x="41672" y="7442"/>
                    <a:pt x="42005" y="8192"/>
                    <a:pt x="42005" y="9013"/>
                  </a:cubicBez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77" y="334"/>
                    <a:pt x="39827" y="0"/>
                    <a:pt x="39005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4" name="Google Shape;354;p19">
              <a:extLst>
                <a:ext uri="{FF2B5EF4-FFF2-40B4-BE49-F238E27FC236}">
                  <a16:creationId xmlns:a16="http://schemas.microsoft.com/office/drawing/2014/main" id="{166320F0-CCB3-F892-39B4-120280EC6791}"/>
                </a:ext>
              </a:extLst>
            </p:cNvPr>
            <p:cNvSpPr txBox="1"/>
            <p:nvPr/>
          </p:nvSpPr>
          <p:spPr>
            <a:xfrm>
              <a:off x="3265722" y="271575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rain model with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25" name="Google Shape;355;p19">
              <a:extLst>
                <a:ext uri="{FF2B5EF4-FFF2-40B4-BE49-F238E27FC236}">
                  <a16:creationId xmlns:a16="http://schemas.microsoft.com/office/drawing/2014/main" id="{0AB07A8E-6132-3718-E204-6EC03DB0058F}"/>
                </a:ext>
              </a:extLst>
            </p:cNvPr>
            <p:cNvSpPr txBox="1"/>
            <p:nvPr/>
          </p:nvSpPr>
          <p:spPr>
            <a:xfrm>
              <a:off x="3195450" y="23874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rain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26" name="Google Shape;356;p19">
            <a:extLst>
              <a:ext uri="{FF2B5EF4-FFF2-40B4-BE49-F238E27FC236}">
                <a16:creationId xmlns:a16="http://schemas.microsoft.com/office/drawing/2014/main" id="{363CB442-5B41-9EA5-3609-0A6BFB101BCF}"/>
              </a:ext>
            </a:extLst>
          </p:cNvPr>
          <p:cNvGrpSpPr/>
          <p:nvPr/>
        </p:nvGrpSpPr>
        <p:grpSpPr>
          <a:xfrm>
            <a:off x="6374003" y="1154501"/>
            <a:ext cx="2078594" cy="979497"/>
            <a:chOff x="2723278" y="1150750"/>
            <a:chExt cx="2078594" cy="979497"/>
          </a:xfrm>
        </p:grpSpPr>
        <p:sp>
          <p:nvSpPr>
            <p:cNvPr id="27" name="Google Shape;357;p19">
              <a:extLst>
                <a:ext uri="{FF2B5EF4-FFF2-40B4-BE49-F238E27FC236}">
                  <a16:creationId xmlns:a16="http://schemas.microsoft.com/office/drawing/2014/main" id="{EE00E48D-BEF0-D033-3ED3-3FA5486E19CE}"/>
                </a:ext>
              </a:extLst>
            </p:cNvPr>
            <p:cNvSpPr/>
            <p:nvPr/>
          </p:nvSpPr>
          <p:spPr>
            <a:xfrm>
              <a:off x="2723278" y="1169328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1"/>
                  </a:moveTo>
                  <a:cubicBezTo>
                    <a:pt x="16310" y="1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7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5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60"/>
                    <a:pt x="1632" y="18886"/>
                    <a:pt x="3715" y="18958"/>
                  </a:cubicBezTo>
                  <a:cubicBezTo>
                    <a:pt x="3750" y="18959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90"/>
                    <a:pt x="8020" y="16325"/>
                    <a:pt x="8743" y="16325"/>
                  </a:cubicBezTo>
                  <a:cubicBezTo>
                    <a:pt x="8765" y="16325"/>
                    <a:pt x="8788" y="16326"/>
                    <a:pt x="8811" y="16326"/>
                  </a:cubicBezTo>
                  <a:lnTo>
                    <a:pt x="12157" y="16434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70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7"/>
                    <a:pt x="47570" y="25127"/>
                  </a:cubicBezTo>
                  <a:cubicBezTo>
                    <a:pt x="49509" y="25127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4"/>
                    <a:pt x="50245" y="1051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1"/>
                    <a:pt x="18228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358;p19">
              <a:extLst>
                <a:ext uri="{FF2B5EF4-FFF2-40B4-BE49-F238E27FC236}">
                  <a16:creationId xmlns:a16="http://schemas.microsoft.com/office/drawing/2014/main" id="{4C45B391-0EBD-FBC1-E89D-BC4A3C61C49C}"/>
                </a:ext>
              </a:extLst>
            </p:cNvPr>
            <p:cNvSpPr/>
            <p:nvPr/>
          </p:nvSpPr>
          <p:spPr>
            <a:xfrm>
              <a:off x="4624272" y="1406505"/>
              <a:ext cx="177598" cy="256316"/>
            </a:xfrm>
            <a:custGeom>
              <a:avLst/>
              <a:gdLst/>
              <a:ahLst/>
              <a:cxnLst/>
              <a:rect l="l" t="t" r="r" b="b"/>
              <a:pathLst>
                <a:path w="4644" h="6026" extrusionOk="0">
                  <a:moveTo>
                    <a:pt x="0" y="1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4"/>
                  </a:cubicBezTo>
                  <a:cubicBezTo>
                    <a:pt x="3215" y="346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9" name="Google Shape;359;p19">
              <a:extLst>
                <a:ext uri="{FF2B5EF4-FFF2-40B4-BE49-F238E27FC236}">
                  <a16:creationId xmlns:a16="http://schemas.microsoft.com/office/drawing/2014/main" id="{735C1EAF-3922-D645-80E5-AF0CF28C0D00}"/>
                </a:ext>
              </a:extLst>
            </p:cNvPr>
            <p:cNvSpPr/>
            <p:nvPr/>
          </p:nvSpPr>
          <p:spPr>
            <a:xfrm>
              <a:off x="2725573" y="1151201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1"/>
                  </a:moveTo>
                  <a:cubicBezTo>
                    <a:pt x="15633" y="1"/>
                    <a:pt x="14037" y="1596"/>
                    <a:pt x="14037" y="3561"/>
                  </a:cubicBezTo>
                  <a:lnTo>
                    <a:pt x="14037" y="12717"/>
                  </a:lnTo>
                  <a:cubicBezTo>
                    <a:pt x="14037" y="13848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60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2"/>
                    <a:pt x="3739" y="19432"/>
                  </a:cubicBezTo>
                  <a:cubicBezTo>
                    <a:pt x="5084" y="19432"/>
                    <a:pt x="6275" y="18705"/>
                    <a:pt x="6929" y="17634"/>
                  </a:cubicBezTo>
                  <a:cubicBezTo>
                    <a:pt x="7287" y="17027"/>
                    <a:pt x="7941" y="16634"/>
                    <a:pt x="8692" y="16634"/>
                  </a:cubicBezTo>
                  <a:lnTo>
                    <a:pt x="11990" y="16634"/>
                  </a:lnTo>
                  <a:cubicBezTo>
                    <a:pt x="13121" y="16634"/>
                    <a:pt x="14037" y="17539"/>
                    <a:pt x="14037" y="18670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61"/>
                  </a:lnTo>
                  <a:cubicBezTo>
                    <a:pt x="50721" y="1596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0" name="Google Shape;360;p19">
              <a:extLst>
                <a:ext uri="{FF2B5EF4-FFF2-40B4-BE49-F238E27FC236}">
                  <a16:creationId xmlns:a16="http://schemas.microsoft.com/office/drawing/2014/main" id="{B0250220-4F43-94EC-5479-D17FB1FEAF20}"/>
                </a:ext>
              </a:extLst>
            </p:cNvPr>
            <p:cNvSpPr/>
            <p:nvPr/>
          </p:nvSpPr>
          <p:spPr>
            <a:xfrm>
              <a:off x="2752419" y="1635195"/>
              <a:ext cx="232247" cy="232285"/>
            </a:xfrm>
            <a:custGeom>
              <a:avLst/>
              <a:gdLst/>
              <a:ahLst/>
              <a:cxnLst/>
              <a:rect l="l" t="t" r="r" b="b"/>
              <a:pathLst>
                <a:path w="6073" h="6074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1" name="Google Shape;361;p19">
              <a:extLst>
                <a:ext uri="{FF2B5EF4-FFF2-40B4-BE49-F238E27FC236}">
                  <a16:creationId xmlns:a16="http://schemas.microsoft.com/office/drawing/2014/main" id="{B9C2E377-FBB7-BACE-D669-75B840CC9687}"/>
                </a:ext>
              </a:extLst>
            </p:cNvPr>
            <p:cNvSpPr/>
            <p:nvPr/>
          </p:nvSpPr>
          <p:spPr>
            <a:xfrm>
              <a:off x="3195458" y="1181162"/>
              <a:ext cx="1606414" cy="36873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8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6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2" name="Google Shape;362;p19">
              <a:extLst>
                <a:ext uri="{FF2B5EF4-FFF2-40B4-BE49-F238E27FC236}">
                  <a16:creationId xmlns:a16="http://schemas.microsoft.com/office/drawing/2014/main" id="{4A81ED20-F49E-7F84-EA78-2BF1B239E57E}"/>
                </a:ext>
              </a:extLst>
            </p:cNvPr>
            <p:cNvSpPr/>
            <p:nvPr/>
          </p:nvSpPr>
          <p:spPr>
            <a:xfrm>
              <a:off x="3195458" y="1150750"/>
              <a:ext cx="1606414" cy="383921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4"/>
                    <a:pt x="3001" y="6014"/>
                  </a:cubicBezTo>
                  <a:lnTo>
                    <a:pt x="39005" y="6014"/>
                  </a:lnTo>
                  <a:cubicBezTo>
                    <a:pt x="39827" y="6014"/>
                    <a:pt x="40577" y="6359"/>
                    <a:pt x="41124" y="6907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30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3" name="Google Shape;363;p19">
              <a:extLst>
                <a:ext uri="{FF2B5EF4-FFF2-40B4-BE49-F238E27FC236}">
                  <a16:creationId xmlns:a16="http://schemas.microsoft.com/office/drawing/2014/main" id="{BC794B05-5D85-8D8E-35E9-689E5F6C33FA}"/>
                </a:ext>
              </a:extLst>
            </p:cNvPr>
            <p:cNvSpPr txBox="1"/>
            <p:nvPr/>
          </p:nvSpPr>
          <p:spPr>
            <a:xfrm>
              <a:off x="3265722" y="147550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Put into data frame as one string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grpSp>
        <p:nvGrpSpPr>
          <p:cNvPr id="35" name="Google Shape;365;p19">
            <a:extLst>
              <a:ext uri="{FF2B5EF4-FFF2-40B4-BE49-F238E27FC236}">
                <a16:creationId xmlns:a16="http://schemas.microsoft.com/office/drawing/2014/main" id="{0BADACB9-1085-F688-313B-7C43F818523C}"/>
              </a:ext>
            </a:extLst>
          </p:cNvPr>
          <p:cNvGrpSpPr/>
          <p:nvPr/>
        </p:nvGrpSpPr>
        <p:grpSpPr>
          <a:xfrm>
            <a:off x="4584563" y="536651"/>
            <a:ext cx="2079971" cy="979046"/>
            <a:chOff x="933838" y="532900"/>
            <a:chExt cx="2079971" cy="979046"/>
          </a:xfrm>
        </p:grpSpPr>
        <p:sp>
          <p:nvSpPr>
            <p:cNvPr id="36" name="Google Shape;366;p19">
              <a:extLst>
                <a:ext uri="{FF2B5EF4-FFF2-40B4-BE49-F238E27FC236}">
                  <a16:creationId xmlns:a16="http://schemas.microsoft.com/office/drawing/2014/main" id="{AEAFFB94-29F2-E5C1-D5BD-8F27940CD915}"/>
                </a:ext>
              </a:extLst>
            </p:cNvPr>
            <p:cNvSpPr/>
            <p:nvPr/>
          </p:nvSpPr>
          <p:spPr>
            <a:xfrm>
              <a:off x="1033115" y="55102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33544" y="1"/>
                  </a:moveTo>
                  <a:cubicBezTo>
                    <a:pt x="33507" y="1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8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6"/>
                    <a:pt x="4322" y="25124"/>
                  </a:cubicBezTo>
                  <a:lnTo>
                    <a:pt x="34231" y="24136"/>
                  </a:lnTo>
                  <a:cubicBezTo>
                    <a:pt x="36207" y="24077"/>
                    <a:pt x="37767" y="22434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26"/>
                  </a:lnTo>
                  <a:cubicBezTo>
                    <a:pt x="43004" y="16325"/>
                    <a:pt x="43026" y="16325"/>
                    <a:pt x="43049" y="16325"/>
                  </a:cubicBezTo>
                  <a:cubicBezTo>
                    <a:pt x="43772" y="16325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9"/>
                    <a:pt x="48078" y="18957"/>
                  </a:cubicBezTo>
                  <a:cubicBezTo>
                    <a:pt x="50162" y="18886"/>
                    <a:pt x="51793" y="17159"/>
                    <a:pt x="51721" y="15099"/>
                  </a:cubicBezTo>
                  <a:cubicBezTo>
                    <a:pt x="51663" y="13077"/>
                    <a:pt x="49974" y="11490"/>
                    <a:pt x="47940" y="11490"/>
                  </a:cubicBezTo>
                  <a:cubicBezTo>
                    <a:pt x="47903" y="11490"/>
                    <a:pt x="47865" y="11491"/>
                    <a:pt x="47828" y="11492"/>
                  </a:cubicBezTo>
                  <a:cubicBezTo>
                    <a:pt x="46459" y="11539"/>
                    <a:pt x="45292" y="12301"/>
                    <a:pt x="44661" y="13397"/>
                  </a:cubicBezTo>
                  <a:cubicBezTo>
                    <a:pt x="44327" y="14004"/>
                    <a:pt x="43673" y="14433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7"/>
                    <a:pt x="39511" y="14577"/>
                  </a:cubicBezTo>
                  <a:cubicBezTo>
                    <a:pt x="38397" y="14577"/>
                    <a:pt x="37480" y="13697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1"/>
                    <a:pt x="33544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7" name="Google Shape;367;p19">
              <a:extLst>
                <a:ext uri="{FF2B5EF4-FFF2-40B4-BE49-F238E27FC236}">
                  <a16:creationId xmlns:a16="http://schemas.microsoft.com/office/drawing/2014/main" id="{83656B75-FA65-EADB-2A16-79FDF08446F0}"/>
                </a:ext>
              </a:extLst>
            </p:cNvPr>
            <p:cNvSpPr/>
            <p:nvPr/>
          </p:nvSpPr>
          <p:spPr>
            <a:xfrm>
              <a:off x="933838" y="78889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80"/>
                    <a:pt x="1" y="3001"/>
                  </a:cubicBezTo>
                  <a:cubicBezTo>
                    <a:pt x="1" y="4668"/>
                    <a:pt x="1346" y="6014"/>
                    <a:pt x="3001" y="6014"/>
                  </a:cubicBezTo>
                  <a:lnTo>
                    <a:pt x="4644" y="6014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8" name="Google Shape;368;p19">
              <a:extLst>
                <a:ext uri="{FF2B5EF4-FFF2-40B4-BE49-F238E27FC236}">
                  <a16:creationId xmlns:a16="http://schemas.microsoft.com/office/drawing/2014/main" id="{7E701376-48ED-70B6-D905-39B99D47F14E}"/>
                </a:ext>
              </a:extLst>
            </p:cNvPr>
            <p:cNvSpPr/>
            <p:nvPr/>
          </p:nvSpPr>
          <p:spPr>
            <a:xfrm>
              <a:off x="1071816" y="532900"/>
              <a:ext cx="1939277" cy="923862"/>
            </a:xfrm>
            <a:custGeom>
              <a:avLst/>
              <a:gdLst/>
              <a:ahLst/>
              <a:cxnLst/>
              <a:rect l="l" t="t" r="r" b="b"/>
              <a:pathLst>
                <a:path w="50710" h="24158" extrusionOk="0">
                  <a:moveTo>
                    <a:pt x="3549" y="0"/>
                  </a:moveTo>
                  <a:cubicBezTo>
                    <a:pt x="1584" y="0"/>
                    <a:pt x="1" y="1595"/>
                    <a:pt x="1" y="3560"/>
                  </a:cubicBezTo>
                  <a:lnTo>
                    <a:pt x="1" y="20610"/>
                  </a:lnTo>
                  <a:cubicBezTo>
                    <a:pt x="1" y="22562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2"/>
                    <a:pt x="36684" y="20610"/>
                  </a:cubicBezTo>
                  <a:lnTo>
                    <a:pt x="36684" y="18669"/>
                  </a:lnTo>
                  <a:cubicBezTo>
                    <a:pt x="36684" y="17550"/>
                    <a:pt x="37600" y="16633"/>
                    <a:pt x="38720" y="16633"/>
                  </a:cubicBezTo>
                  <a:lnTo>
                    <a:pt x="42030" y="16633"/>
                  </a:lnTo>
                  <a:cubicBezTo>
                    <a:pt x="42780" y="16633"/>
                    <a:pt x="43435" y="17038"/>
                    <a:pt x="43792" y="17633"/>
                  </a:cubicBezTo>
                  <a:cubicBezTo>
                    <a:pt x="44447" y="18705"/>
                    <a:pt x="45625" y="19431"/>
                    <a:pt x="46983" y="19431"/>
                  </a:cubicBezTo>
                  <a:cubicBezTo>
                    <a:pt x="49042" y="19431"/>
                    <a:pt x="50709" y="17752"/>
                    <a:pt x="50709" y="15692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2"/>
                    <a:pt x="43792" y="13764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28"/>
                  </a:cubicBezTo>
                  <a:lnTo>
                    <a:pt x="36684" y="3560"/>
                  </a:lnTo>
                  <a:cubicBezTo>
                    <a:pt x="36684" y="1595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9" name="Google Shape;369;p19">
              <a:extLst>
                <a:ext uri="{FF2B5EF4-FFF2-40B4-BE49-F238E27FC236}">
                  <a16:creationId xmlns:a16="http://schemas.microsoft.com/office/drawing/2014/main" id="{F478A4FC-C28A-AA2E-07A3-6DE1CFA16A04}"/>
                </a:ext>
              </a:extLst>
            </p:cNvPr>
            <p:cNvSpPr/>
            <p:nvPr/>
          </p:nvSpPr>
          <p:spPr>
            <a:xfrm>
              <a:off x="2752419" y="1016894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70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70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0" name="Google Shape;370;p19">
              <a:extLst>
                <a:ext uri="{FF2B5EF4-FFF2-40B4-BE49-F238E27FC236}">
                  <a16:creationId xmlns:a16="http://schemas.microsoft.com/office/drawing/2014/main" id="{D2CC46E4-0E18-C459-6731-7788D1035C52}"/>
                </a:ext>
              </a:extLst>
            </p:cNvPr>
            <p:cNvSpPr/>
            <p:nvPr/>
          </p:nvSpPr>
          <p:spPr>
            <a:xfrm>
              <a:off x="935214" y="56279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2168" y="1"/>
                    <a:pt x="1417" y="346"/>
                    <a:pt x="882" y="882"/>
                  </a:cubicBezTo>
                  <a:cubicBezTo>
                    <a:pt x="334" y="1429"/>
                    <a:pt x="1" y="2180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1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6"/>
                  </a:cubicBezTo>
                  <a:cubicBezTo>
                    <a:pt x="41815" y="1168"/>
                    <a:pt x="40541" y="1"/>
                    <a:pt x="39006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1" name="Google Shape;371;p19">
              <a:extLst>
                <a:ext uri="{FF2B5EF4-FFF2-40B4-BE49-F238E27FC236}">
                  <a16:creationId xmlns:a16="http://schemas.microsoft.com/office/drawing/2014/main" id="{BC0ADE3B-6BCB-A7F7-4E00-3B2C828E5260}"/>
                </a:ext>
              </a:extLst>
            </p:cNvPr>
            <p:cNvSpPr/>
            <p:nvPr/>
          </p:nvSpPr>
          <p:spPr>
            <a:xfrm>
              <a:off x="935214" y="532909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2168" y="0"/>
                    <a:pt x="1417" y="334"/>
                    <a:pt x="882" y="881"/>
                  </a:cubicBezTo>
                  <a:cubicBezTo>
                    <a:pt x="334" y="1417"/>
                    <a:pt x="1" y="2167"/>
                    <a:pt x="1" y="3001"/>
                  </a:cubicBezTo>
                  <a:lnTo>
                    <a:pt x="1" y="9013"/>
                  </a:lnTo>
                  <a:cubicBezTo>
                    <a:pt x="1" y="8192"/>
                    <a:pt x="334" y="7430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01"/>
                  </a:cubicBezTo>
                  <a:cubicBezTo>
                    <a:pt x="42006" y="1346"/>
                    <a:pt x="40660" y="0"/>
                    <a:pt x="39006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00"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2" name="Google Shape;372;p19">
              <a:extLst>
                <a:ext uri="{FF2B5EF4-FFF2-40B4-BE49-F238E27FC236}">
                  <a16:creationId xmlns:a16="http://schemas.microsoft.com/office/drawing/2014/main" id="{E28453F8-3EC6-DEDA-53C6-7ABEECD01F9A}"/>
                </a:ext>
              </a:extLst>
            </p:cNvPr>
            <p:cNvSpPr txBox="1"/>
            <p:nvPr/>
          </p:nvSpPr>
          <p:spPr>
            <a:xfrm>
              <a:off x="1081172" y="857225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5000 samples of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43" name="Google Shape;373;p19">
              <a:extLst>
                <a:ext uri="{FF2B5EF4-FFF2-40B4-BE49-F238E27FC236}">
                  <a16:creationId xmlns:a16="http://schemas.microsoft.com/office/drawing/2014/main" id="{33B1B2FE-6B07-658C-8002-785DCE648388}"/>
                </a:ext>
              </a:extLst>
            </p:cNvPr>
            <p:cNvSpPr txBox="1"/>
            <p:nvPr/>
          </p:nvSpPr>
          <p:spPr>
            <a:xfrm>
              <a:off x="1071825" y="532900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sym typeface="Fira Sans Extra Condensed Medium"/>
                </a:rPr>
                <a:t>Obtain Data</a:t>
              </a:r>
              <a:endParaRPr lang="en-US"/>
            </a:p>
          </p:txBody>
        </p:sp>
      </p:grpSp>
      <p:grpSp>
        <p:nvGrpSpPr>
          <p:cNvPr id="44" name="Google Shape;374;p19">
            <a:extLst>
              <a:ext uri="{FF2B5EF4-FFF2-40B4-BE49-F238E27FC236}">
                <a16:creationId xmlns:a16="http://schemas.microsoft.com/office/drawing/2014/main" id="{870EE28C-0036-35F6-40D7-794CBF7727D0}"/>
              </a:ext>
            </a:extLst>
          </p:cNvPr>
          <p:cNvGrpSpPr/>
          <p:nvPr/>
        </p:nvGrpSpPr>
        <p:grpSpPr>
          <a:xfrm>
            <a:off x="4584563" y="1772840"/>
            <a:ext cx="2079971" cy="979077"/>
            <a:chOff x="933838" y="1769089"/>
            <a:chExt cx="2079971" cy="979077"/>
          </a:xfrm>
        </p:grpSpPr>
        <p:sp>
          <p:nvSpPr>
            <p:cNvPr id="45" name="Google Shape;375;p19">
              <a:extLst>
                <a:ext uri="{FF2B5EF4-FFF2-40B4-BE49-F238E27FC236}">
                  <a16:creationId xmlns:a16="http://schemas.microsoft.com/office/drawing/2014/main" id="{41B1EE30-89B3-AED7-3C71-D8B988EBC1D5}"/>
                </a:ext>
              </a:extLst>
            </p:cNvPr>
            <p:cNvSpPr/>
            <p:nvPr/>
          </p:nvSpPr>
          <p:spPr>
            <a:xfrm>
              <a:off x="1033115" y="1787667"/>
              <a:ext cx="1980694" cy="960499"/>
            </a:xfrm>
            <a:custGeom>
              <a:avLst/>
              <a:gdLst/>
              <a:ahLst/>
              <a:cxnLst/>
              <a:rect l="l" t="t" r="r" b="b"/>
              <a:pathLst>
                <a:path w="51793" h="25116" extrusionOk="0">
                  <a:moveTo>
                    <a:pt x="33566" y="0"/>
                  </a:moveTo>
                  <a:cubicBezTo>
                    <a:pt x="33522" y="0"/>
                    <a:pt x="33478" y="1"/>
                    <a:pt x="33433" y="3"/>
                  </a:cubicBezTo>
                  <a:lnTo>
                    <a:pt x="3537" y="979"/>
                  </a:lnTo>
                  <a:cubicBezTo>
                    <a:pt x="1548" y="1050"/>
                    <a:pt x="0" y="2693"/>
                    <a:pt x="60" y="4646"/>
                  </a:cubicBezTo>
                  <a:lnTo>
                    <a:pt x="620" y="21684"/>
                  </a:lnTo>
                  <a:cubicBezTo>
                    <a:pt x="689" y="23604"/>
                    <a:pt x="2273" y="25115"/>
                    <a:pt x="4190" y="25115"/>
                  </a:cubicBezTo>
                  <a:cubicBezTo>
                    <a:pt x="4234" y="25115"/>
                    <a:pt x="4278" y="25114"/>
                    <a:pt x="4322" y="25113"/>
                  </a:cubicBezTo>
                  <a:lnTo>
                    <a:pt x="34231" y="24136"/>
                  </a:lnTo>
                  <a:cubicBezTo>
                    <a:pt x="36207" y="24065"/>
                    <a:pt x="37767" y="22422"/>
                    <a:pt x="37696" y="20469"/>
                  </a:cubicBezTo>
                  <a:lnTo>
                    <a:pt x="37636" y="18541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14"/>
                  </a:lnTo>
                  <a:cubicBezTo>
                    <a:pt x="43004" y="16313"/>
                    <a:pt x="43026" y="16313"/>
                    <a:pt x="43048" y="16313"/>
                  </a:cubicBezTo>
                  <a:cubicBezTo>
                    <a:pt x="43772" y="16313"/>
                    <a:pt x="44422" y="16689"/>
                    <a:pt x="44792" y="17267"/>
                  </a:cubicBezTo>
                  <a:cubicBezTo>
                    <a:pt x="45460" y="18280"/>
                    <a:pt x="46628" y="18948"/>
                    <a:pt x="47943" y="18948"/>
                  </a:cubicBezTo>
                  <a:cubicBezTo>
                    <a:pt x="47988" y="18948"/>
                    <a:pt x="48033" y="18947"/>
                    <a:pt x="48078" y="18945"/>
                  </a:cubicBezTo>
                  <a:cubicBezTo>
                    <a:pt x="50162" y="18886"/>
                    <a:pt x="51793" y="17159"/>
                    <a:pt x="51721" y="15100"/>
                  </a:cubicBezTo>
                  <a:cubicBezTo>
                    <a:pt x="51663" y="13084"/>
                    <a:pt x="49985" y="11490"/>
                    <a:pt x="47961" y="11490"/>
                  </a:cubicBezTo>
                  <a:cubicBezTo>
                    <a:pt x="47916" y="11490"/>
                    <a:pt x="47872" y="11491"/>
                    <a:pt x="47828" y="11492"/>
                  </a:cubicBezTo>
                  <a:cubicBezTo>
                    <a:pt x="46459" y="11540"/>
                    <a:pt x="45292" y="12290"/>
                    <a:pt x="44661" y="13397"/>
                  </a:cubicBezTo>
                  <a:cubicBezTo>
                    <a:pt x="44327" y="14004"/>
                    <a:pt x="43673" y="14433"/>
                    <a:pt x="42911" y="14457"/>
                  </a:cubicBezTo>
                  <a:lnTo>
                    <a:pt x="39577" y="14564"/>
                  </a:lnTo>
                  <a:cubicBezTo>
                    <a:pt x="39554" y="14565"/>
                    <a:pt x="39532" y="14565"/>
                    <a:pt x="39510" y="14565"/>
                  </a:cubicBezTo>
                  <a:cubicBezTo>
                    <a:pt x="38397" y="14565"/>
                    <a:pt x="37480" y="13696"/>
                    <a:pt x="37434" y="12587"/>
                  </a:cubicBezTo>
                  <a:lnTo>
                    <a:pt x="37136" y="3432"/>
                  </a:lnTo>
                  <a:cubicBezTo>
                    <a:pt x="37078" y="1511"/>
                    <a:pt x="35484" y="0"/>
                    <a:pt x="3356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6" name="Google Shape;376;p19">
              <a:extLst>
                <a:ext uri="{FF2B5EF4-FFF2-40B4-BE49-F238E27FC236}">
                  <a16:creationId xmlns:a16="http://schemas.microsoft.com/office/drawing/2014/main" id="{67C489D2-02A3-1001-86AF-4CE4EC84E40D}"/>
                </a:ext>
              </a:extLst>
            </p:cNvPr>
            <p:cNvSpPr/>
            <p:nvPr/>
          </p:nvSpPr>
          <p:spPr>
            <a:xfrm>
              <a:off x="933838" y="2025120"/>
              <a:ext cx="177598" cy="256034"/>
            </a:xfrm>
            <a:custGeom>
              <a:avLst/>
              <a:gdLst/>
              <a:ahLst/>
              <a:cxnLst/>
              <a:rect l="l" t="t" r="r" b="b"/>
              <a:pathLst>
                <a:path w="4644" h="6013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7" name="Google Shape;377;p19">
              <a:extLst>
                <a:ext uri="{FF2B5EF4-FFF2-40B4-BE49-F238E27FC236}">
                  <a16:creationId xmlns:a16="http://schemas.microsoft.com/office/drawing/2014/main" id="{9D768FB2-F32D-6A09-EE2C-0C4F2743114B}"/>
                </a:ext>
              </a:extLst>
            </p:cNvPr>
            <p:cNvSpPr/>
            <p:nvPr/>
          </p:nvSpPr>
          <p:spPr>
            <a:xfrm>
              <a:off x="1071816" y="1769540"/>
              <a:ext cx="1939277" cy="923442"/>
            </a:xfrm>
            <a:custGeom>
              <a:avLst/>
              <a:gdLst/>
              <a:ahLst/>
              <a:cxnLst/>
              <a:rect l="l" t="t" r="r" b="b"/>
              <a:pathLst>
                <a:path w="50710" h="24147" extrusionOk="0">
                  <a:moveTo>
                    <a:pt x="3549" y="0"/>
                  </a:moveTo>
                  <a:cubicBezTo>
                    <a:pt x="1584" y="0"/>
                    <a:pt x="1" y="1596"/>
                    <a:pt x="1" y="3548"/>
                  </a:cubicBezTo>
                  <a:lnTo>
                    <a:pt x="1" y="20598"/>
                  </a:lnTo>
                  <a:cubicBezTo>
                    <a:pt x="1" y="22563"/>
                    <a:pt x="1584" y="24146"/>
                    <a:pt x="3549" y="24146"/>
                  </a:cubicBezTo>
                  <a:lnTo>
                    <a:pt x="33124" y="24146"/>
                  </a:lnTo>
                  <a:cubicBezTo>
                    <a:pt x="35088" y="24146"/>
                    <a:pt x="36684" y="22563"/>
                    <a:pt x="36684" y="20598"/>
                  </a:cubicBezTo>
                  <a:lnTo>
                    <a:pt x="36684" y="18669"/>
                  </a:lnTo>
                  <a:cubicBezTo>
                    <a:pt x="36684" y="17538"/>
                    <a:pt x="37600" y="16621"/>
                    <a:pt x="38720" y="16621"/>
                  </a:cubicBezTo>
                  <a:lnTo>
                    <a:pt x="42030" y="16621"/>
                  </a:lnTo>
                  <a:cubicBezTo>
                    <a:pt x="42780" y="16621"/>
                    <a:pt x="43435" y="17026"/>
                    <a:pt x="43792" y="17633"/>
                  </a:cubicBezTo>
                  <a:cubicBezTo>
                    <a:pt x="44447" y="18705"/>
                    <a:pt x="45625" y="19419"/>
                    <a:pt x="46983" y="19419"/>
                  </a:cubicBezTo>
                  <a:cubicBezTo>
                    <a:pt x="49042" y="19419"/>
                    <a:pt x="50709" y="17753"/>
                    <a:pt x="50709" y="15693"/>
                  </a:cubicBezTo>
                  <a:cubicBezTo>
                    <a:pt x="50709" y="13633"/>
                    <a:pt x="49042" y="11954"/>
                    <a:pt x="46983" y="11954"/>
                  </a:cubicBezTo>
                  <a:cubicBezTo>
                    <a:pt x="45625" y="11954"/>
                    <a:pt x="44447" y="12680"/>
                    <a:pt x="43792" y="13752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16"/>
                  </a:cubicBezTo>
                  <a:lnTo>
                    <a:pt x="36684" y="3548"/>
                  </a:lnTo>
                  <a:cubicBezTo>
                    <a:pt x="36684" y="1596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8" name="Google Shape;378;p19">
              <a:extLst>
                <a:ext uri="{FF2B5EF4-FFF2-40B4-BE49-F238E27FC236}">
                  <a16:creationId xmlns:a16="http://schemas.microsoft.com/office/drawing/2014/main" id="{CBF8A3D4-60B0-2762-7FC9-96766F06CE8B}"/>
                </a:ext>
              </a:extLst>
            </p:cNvPr>
            <p:cNvSpPr/>
            <p:nvPr/>
          </p:nvSpPr>
          <p:spPr>
            <a:xfrm>
              <a:off x="2752419" y="2253534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9" name="Google Shape;379;p19">
              <a:extLst>
                <a:ext uri="{FF2B5EF4-FFF2-40B4-BE49-F238E27FC236}">
                  <a16:creationId xmlns:a16="http://schemas.microsoft.com/office/drawing/2014/main" id="{ED3832C1-FF82-B007-DD8B-BCB301E2D728}"/>
                </a:ext>
              </a:extLst>
            </p:cNvPr>
            <p:cNvSpPr/>
            <p:nvPr/>
          </p:nvSpPr>
          <p:spPr>
            <a:xfrm>
              <a:off x="935214" y="1799534"/>
              <a:ext cx="1606414" cy="368572"/>
            </a:xfrm>
            <a:custGeom>
              <a:avLst/>
              <a:gdLst/>
              <a:ahLst/>
              <a:cxnLst/>
              <a:rect l="l" t="t" r="r" b="b"/>
              <a:pathLst>
                <a:path w="42006" h="8656" extrusionOk="0">
                  <a:moveTo>
                    <a:pt x="3001" y="0"/>
                  </a:moveTo>
                  <a:cubicBezTo>
                    <a:pt x="2168" y="0"/>
                    <a:pt x="1417" y="333"/>
                    <a:pt x="882" y="881"/>
                  </a:cubicBezTo>
                  <a:cubicBezTo>
                    <a:pt x="334" y="1429"/>
                    <a:pt x="1" y="2179"/>
                    <a:pt x="1" y="3012"/>
                  </a:cubicBezTo>
                  <a:lnTo>
                    <a:pt x="1" y="8311"/>
                  </a:lnTo>
                  <a:lnTo>
                    <a:pt x="24" y="8656"/>
                  </a:lnTo>
                  <a:cubicBezTo>
                    <a:pt x="108" y="7977"/>
                    <a:pt x="417" y="7358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12"/>
                  </a:cubicBezTo>
                  <a:cubicBezTo>
                    <a:pt x="42006" y="2881"/>
                    <a:pt x="42006" y="2774"/>
                    <a:pt x="41982" y="2655"/>
                  </a:cubicBezTo>
                  <a:cubicBezTo>
                    <a:pt x="41815" y="1155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380;p19">
              <a:extLst>
                <a:ext uri="{FF2B5EF4-FFF2-40B4-BE49-F238E27FC236}">
                  <a16:creationId xmlns:a16="http://schemas.microsoft.com/office/drawing/2014/main" id="{ACAF32B3-5C8F-5A7C-0583-16353C7BA9A8}"/>
                </a:ext>
              </a:extLst>
            </p:cNvPr>
            <p:cNvSpPr/>
            <p:nvPr/>
          </p:nvSpPr>
          <p:spPr>
            <a:xfrm>
              <a:off x="935214" y="1769089"/>
              <a:ext cx="1606414" cy="384327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9026"/>
                  </a:lnTo>
                  <a:cubicBezTo>
                    <a:pt x="1" y="8192"/>
                    <a:pt x="334" y="7442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381;p19">
              <a:extLst>
                <a:ext uri="{FF2B5EF4-FFF2-40B4-BE49-F238E27FC236}">
                  <a16:creationId xmlns:a16="http://schemas.microsoft.com/office/drawing/2014/main" id="{1318E4BE-E0B9-33EC-934A-18639A1F15E9}"/>
                </a:ext>
              </a:extLst>
            </p:cNvPr>
            <p:cNvSpPr txBox="1"/>
            <p:nvPr/>
          </p:nvSpPr>
          <p:spPr>
            <a:xfrm>
              <a:off x="1081172" y="209766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Encode strings and batch them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Google Shape;382;p19">
              <a:extLst>
                <a:ext uri="{FF2B5EF4-FFF2-40B4-BE49-F238E27FC236}">
                  <a16:creationId xmlns:a16="http://schemas.microsoft.com/office/drawing/2014/main" id="{66A8AB38-C7E4-96B6-0049-864E509A39E8}"/>
                </a:ext>
              </a:extLst>
            </p:cNvPr>
            <p:cNvSpPr txBox="1"/>
            <p:nvPr/>
          </p:nvSpPr>
          <p:spPr>
            <a:xfrm>
              <a:off x="1071825" y="1769313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Encode + Batch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53" name="Google Shape;383;p19">
            <a:extLst>
              <a:ext uri="{FF2B5EF4-FFF2-40B4-BE49-F238E27FC236}">
                <a16:creationId xmlns:a16="http://schemas.microsoft.com/office/drawing/2014/main" id="{084199AD-7317-DD9D-F00C-7BE4CF52FE40}"/>
              </a:ext>
            </a:extLst>
          </p:cNvPr>
          <p:cNvGrpSpPr/>
          <p:nvPr/>
        </p:nvGrpSpPr>
        <p:grpSpPr>
          <a:xfrm>
            <a:off x="4584563" y="3009472"/>
            <a:ext cx="2079971" cy="979046"/>
            <a:chOff x="933838" y="3005721"/>
            <a:chExt cx="2079971" cy="979046"/>
          </a:xfrm>
        </p:grpSpPr>
        <p:sp>
          <p:nvSpPr>
            <p:cNvPr id="54" name="Google Shape;384;p19">
              <a:extLst>
                <a:ext uri="{FF2B5EF4-FFF2-40B4-BE49-F238E27FC236}">
                  <a16:creationId xmlns:a16="http://schemas.microsoft.com/office/drawing/2014/main" id="{16DBC7E0-A3F4-DA44-3C59-2E2EA36E3AFB}"/>
                </a:ext>
              </a:extLst>
            </p:cNvPr>
            <p:cNvSpPr/>
            <p:nvPr/>
          </p:nvSpPr>
          <p:spPr>
            <a:xfrm>
              <a:off x="1033115" y="3023886"/>
              <a:ext cx="1980694" cy="960881"/>
            </a:xfrm>
            <a:custGeom>
              <a:avLst/>
              <a:gdLst/>
              <a:ahLst/>
              <a:cxnLst/>
              <a:rect l="l" t="t" r="r" b="b"/>
              <a:pathLst>
                <a:path w="51793" h="25126" extrusionOk="0">
                  <a:moveTo>
                    <a:pt x="33544" y="0"/>
                  </a:moveTo>
                  <a:cubicBezTo>
                    <a:pt x="33507" y="0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7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5"/>
                    <a:pt x="4322" y="25124"/>
                  </a:cubicBezTo>
                  <a:lnTo>
                    <a:pt x="34231" y="24136"/>
                  </a:lnTo>
                  <a:cubicBezTo>
                    <a:pt x="36207" y="24076"/>
                    <a:pt x="37767" y="22433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8"/>
                    <a:pt x="39636" y="16433"/>
                  </a:cubicBezTo>
                  <a:lnTo>
                    <a:pt x="42982" y="16325"/>
                  </a:lnTo>
                  <a:cubicBezTo>
                    <a:pt x="43004" y="16325"/>
                    <a:pt x="43026" y="16324"/>
                    <a:pt x="43049" y="16324"/>
                  </a:cubicBezTo>
                  <a:cubicBezTo>
                    <a:pt x="43772" y="16324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8"/>
                    <a:pt x="48078" y="18957"/>
                  </a:cubicBezTo>
                  <a:cubicBezTo>
                    <a:pt x="50162" y="18885"/>
                    <a:pt x="51793" y="17159"/>
                    <a:pt x="51721" y="15099"/>
                  </a:cubicBezTo>
                  <a:cubicBezTo>
                    <a:pt x="51663" y="13076"/>
                    <a:pt x="49974" y="11490"/>
                    <a:pt x="47940" y="11490"/>
                  </a:cubicBezTo>
                  <a:cubicBezTo>
                    <a:pt x="47903" y="11490"/>
                    <a:pt x="47865" y="11490"/>
                    <a:pt x="47828" y="11491"/>
                  </a:cubicBezTo>
                  <a:cubicBezTo>
                    <a:pt x="46459" y="11539"/>
                    <a:pt x="45292" y="12301"/>
                    <a:pt x="44661" y="13396"/>
                  </a:cubicBezTo>
                  <a:cubicBezTo>
                    <a:pt x="44327" y="14004"/>
                    <a:pt x="43673" y="14432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6"/>
                    <a:pt x="39511" y="14576"/>
                  </a:cubicBezTo>
                  <a:cubicBezTo>
                    <a:pt x="38397" y="14576"/>
                    <a:pt x="37480" y="13696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0"/>
                    <a:pt x="33544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5" name="Google Shape;385;p19">
              <a:extLst>
                <a:ext uri="{FF2B5EF4-FFF2-40B4-BE49-F238E27FC236}">
                  <a16:creationId xmlns:a16="http://schemas.microsoft.com/office/drawing/2014/main" id="{7239C8BB-1E2E-F5DD-E42A-A3C2B808DB81}"/>
                </a:ext>
              </a:extLst>
            </p:cNvPr>
            <p:cNvSpPr/>
            <p:nvPr/>
          </p:nvSpPr>
          <p:spPr>
            <a:xfrm>
              <a:off x="933838" y="3261739"/>
              <a:ext cx="177598" cy="256061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7"/>
                    <a:pt x="1" y="2179"/>
                    <a:pt x="1" y="3001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6" name="Google Shape;386;p19">
              <a:extLst>
                <a:ext uri="{FF2B5EF4-FFF2-40B4-BE49-F238E27FC236}">
                  <a16:creationId xmlns:a16="http://schemas.microsoft.com/office/drawing/2014/main" id="{A0DB2FD9-4771-C3C3-C7CE-8291A2AA7B56}"/>
                </a:ext>
              </a:extLst>
            </p:cNvPr>
            <p:cNvSpPr/>
            <p:nvPr/>
          </p:nvSpPr>
          <p:spPr>
            <a:xfrm>
              <a:off x="1071816" y="3005721"/>
              <a:ext cx="1939277" cy="923901"/>
            </a:xfrm>
            <a:custGeom>
              <a:avLst/>
              <a:gdLst/>
              <a:ahLst/>
              <a:cxnLst/>
              <a:rect l="l" t="t" r="r" b="b"/>
              <a:pathLst>
                <a:path w="50710" h="24159" extrusionOk="0">
                  <a:moveTo>
                    <a:pt x="3549" y="1"/>
                  </a:moveTo>
                  <a:cubicBezTo>
                    <a:pt x="1584" y="1"/>
                    <a:pt x="1" y="1596"/>
                    <a:pt x="1" y="3561"/>
                  </a:cubicBezTo>
                  <a:lnTo>
                    <a:pt x="1" y="20610"/>
                  </a:lnTo>
                  <a:cubicBezTo>
                    <a:pt x="1" y="22563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3"/>
                    <a:pt x="36684" y="20610"/>
                  </a:cubicBezTo>
                  <a:lnTo>
                    <a:pt x="36684" y="18670"/>
                  </a:lnTo>
                  <a:cubicBezTo>
                    <a:pt x="36684" y="17550"/>
                    <a:pt x="37600" y="16634"/>
                    <a:pt x="38720" y="16634"/>
                  </a:cubicBezTo>
                  <a:lnTo>
                    <a:pt x="42030" y="16634"/>
                  </a:lnTo>
                  <a:cubicBezTo>
                    <a:pt x="42780" y="16634"/>
                    <a:pt x="43435" y="17039"/>
                    <a:pt x="43792" y="17634"/>
                  </a:cubicBezTo>
                  <a:cubicBezTo>
                    <a:pt x="44447" y="18705"/>
                    <a:pt x="45625" y="19432"/>
                    <a:pt x="46983" y="19432"/>
                  </a:cubicBezTo>
                  <a:cubicBezTo>
                    <a:pt x="49042" y="19432"/>
                    <a:pt x="50709" y="17765"/>
                    <a:pt x="50709" y="15693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3"/>
                    <a:pt x="43792" y="13764"/>
                  </a:cubicBezTo>
                  <a:cubicBezTo>
                    <a:pt x="43435" y="14360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8"/>
                    <a:pt x="36684" y="12728"/>
                  </a:cubicBezTo>
                  <a:lnTo>
                    <a:pt x="36684" y="3561"/>
                  </a:lnTo>
                  <a:cubicBezTo>
                    <a:pt x="36684" y="1596"/>
                    <a:pt x="35088" y="1"/>
                    <a:pt x="33124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387;p19">
              <a:extLst>
                <a:ext uri="{FF2B5EF4-FFF2-40B4-BE49-F238E27FC236}">
                  <a16:creationId xmlns:a16="http://schemas.microsoft.com/office/drawing/2014/main" id="{A9D8ABE3-F548-E553-F7B2-E70F082E0E49}"/>
                </a:ext>
              </a:extLst>
            </p:cNvPr>
            <p:cNvSpPr/>
            <p:nvPr/>
          </p:nvSpPr>
          <p:spPr>
            <a:xfrm>
              <a:off x="2752419" y="3489753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69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69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8" name="Google Shape;388;p19">
              <a:extLst>
                <a:ext uri="{FF2B5EF4-FFF2-40B4-BE49-F238E27FC236}">
                  <a16:creationId xmlns:a16="http://schemas.microsoft.com/office/drawing/2014/main" id="{B705722C-D58B-8B4C-A239-94A6CA47A99A}"/>
                </a:ext>
              </a:extLst>
            </p:cNvPr>
            <p:cNvSpPr/>
            <p:nvPr/>
          </p:nvSpPr>
          <p:spPr>
            <a:xfrm>
              <a:off x="935214" y="3035660"/>
              <a:ext cx="1606414" cy="369104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0"/>
                    <a:pt x="882" y="6894"/>
                  </a:cubicBezTo>
                  <a:cubicBezTo>
                    <a:pt x="1417" y="6358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5"/>
                  </a:cubicBezTo>
                  <a:cubicBezTo>
                    <a:pt x="41815" y="1167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9" name="Google Shape;389;p19">
              <a:extLst>
                <a:ext uri="{FF2B5EF4-FFF2-40B4-BE49-F238E27FC236}">
                  <a16:creationId xmlns:a16="http://schemas.microsoft.com/office/drawing/2014/main" id="{C03FCBF4-C92F-D037-140C-8C80B44B94E9}"/>
                </a:ext>
              </a:extLst>
            </p:cNvPr>
            <p:cNvSpPr/>
            <p:nvPr/>
          </p:nvSpPr>
          <p:spPr>
            <a:xfrm>
              <a:off x="935214" y="3005729"/>
              <a:ext cx="1606414" cy="383794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68"/>
                    <a:pt x="1" y="3001"/>
                  </a:cubicBezTo>
                  <a:lnTo>
                    <a:pt x="1" y="9014"/>
                  </a:lnTo>
                  <a:cubicBezTo>
                    <a:pt x="1" y="8192"/>
                    <a:pt x="334" y="7430"/>
                    <a:pt x="882" y="6895"/>
                  </a:cubicBezTo>
                  <a:cubicBezTo>
                    <a:pt x="1417" y="6347"/>
                    <a:pt x="2168" y="6014"/>
                    <a:pt x="3001" y="6014"/>
                  </a:cubicBezTo>
                  <a:lnTo>
                    <a:pt x="39006" y="6014"/>
                  </a:lnTo>
                  <a:cubicBezTo>
                    <a:pt x="40660" y="6014"/>
                    <a:pt x="42006" y="4668"/>
                    <a:pt x="42006" y="3001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60" name="Google Shape;390;p19">
              <a:extLst>
                <a:ext uri="{FF2B5EF4-FFF2-40B4-BE49-F238E27FC236}">
                  <a16:creationId xmlns:a16="http://schemas.microsoft.com/office/drawing/2014/main" id="{EC0BD778-21B1-0382-06E7-2622FA4F4F7D}"/>
                </a:ext>
              </a:extLst>
            </p:cNvPr>
            <p:cNvSpPr txBox="1"/>
            <p:nvPr/>
          </p:nvSpPr>
          <p:spPr>
            <a:xfrm>
              <a:off x="1081172" y="333811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Generate output and decode it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pic>
        <p:nvPicPr>
          <p:cNvPr id="4" name="Graphic 3" descr="Checkmark">
            <a:extLst>
              <a:ext uri="{FF2B5EF4-FFF2-40B4-BE49-F238E27FC236}">
                <a16:creationId xmlns:a16="http://schemas.microsoft.com/office/drawing/2014/main" id="{11F0160A-5D41-3897-1E64-86A511D623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5534" y="1040560"/>
            <a:ext cx="213785" cy="213785"/>
          </a:xfrm>
          <a:prstGeom prst="rect">
            <a:avLst/>
          </a:prstGeom>
        </p:spPr>
      </p:pic>
      <p:sp>
        <p:nvSpPr>
          <p:cNvPr id="62" name="Google Shape;364;p19">
            <a:extLst>
              <a:ext uri="{FF2B5EF4-FFF2-40B4-BE49-F238E27FC236}">
                <a16:creationId xmlns:a16="http://schemas.microsoft.com/office/drawing/2014/main" id="{4AEC2EC8-08D8-0083-2CC6-C5706B43FF13}"/>
              </a:ext>
            </a:extLst>
          </p:cNvPr>
          <p:cNvSpPr txBox="1"/>
          <p:nvPr/>
        </p:nvSpPr>
        <p:spPr>
          <a:xfrm>
            <a:off x="6846175" y="1144475"/>
            <a:ext cx="157998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Preprocess Data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sp>
        <p:nvSpPr>
          <p:cNvPr id="64" name="Google Shape;391;p19">
            <a:extLst>
              <a:ext uri="{FF2B5EF4-FFF2-40B4-BE49-F238E27FC236}">
                <a16:creationId xmlns:a16="http://schemas.microsoft.com/office/drawing/2014/main" id="{B4A67348-4BEE-B514-EC5F-F4221435CB17}"/>
              </a:ext>
            </a:extLst>
          </p:cNvPr>
          <p:cNvSpPr txBox="1"/>
          <p:nvPr/>
        </p:nvSpPr>
        <p:spPr>
          <a:xfrm>
            <a:off x="4520839" y="3012821"/>
            <a:ext cx="174725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Generate + Decode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pic>
        <p:nvPicPr>
          <p:cNvPr id="65" name="Picture 65" descr="Text&#10;&#10;Description automatically generated">
            <a:extLst>
              <a:ext uri="{FF2B5EF4-FFF2-40B4-BE49-F238E27FC236}">
                <a16:creationId xmlns:a16="http://schemas.microsoft.com/office/drawing/2014/main" id="{C6527B35-DFC6-73FC-FDF2-814F0F0557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1907" b="1020"/>
          <a:stretch/>
        </p:blipFill>
        <p:spPr>
          <a:xfrm>
            <a:off x="412755" y="3163451"/>
            <a:ext cx="3513280" cy="1101754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9226086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09239" y="1464421"/>
            <a:ext cx="3648375" cy="29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/>
                <a:cs typeface="Arial"/>
              </a:rPr>
              <a:t>Encode + Batch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Our model trains best when the data is batched, so we created a function to batch our data into a desired batch size</a:t>
            </a:r>
          </a:p>
          <a:p>
            <a:pPr>
              <a:buSzPct val="150000"/>
            </a:pPr>
            <a:endParaRPr lang="en-US" sz="400" b="0" dirty="0">
              <a:latin typeface="Arial"/>
              <a:cs typeface="Arial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We later realized that the data_loader function from Torch both batches and tokenizes the data for us, giving us a vector of the encoded text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3</a:t>
            </a:r>
          </a:p>
        </p:txBody>
      </p:sp>
      <p:sp>
        <p:nvSpPr>
          <p:cNvPr id="6" name="Google Shape;336;p19">
            <a:extLst>
              <a:ext uri="{FF2B5EF4-FFF2-40B4-BE49-F238E27FC236}">
                <a16:creationId xmlns:a16="http://schemas.microsoft.com/office/drawing/2014/main" id="{3A46E835-1E6D-22F7-161E-6E2B33500B1E}"/>
              </a:ext>
            </a:extLst>
          </p:cNvPr>
          <p:cNvSpPr/>
          <p:nvPr/>
        </p:nvSpPr>
        <p:spPr>
          <a:xfrm>
            <a:off x="6495888" y="-30149"/>
            <a:ext cx="46774" cy="5203797"/>
          </a:xfrm>
          <a:custGeom>
            <a:avLst/>
            <a:gdLst/>
            <a:ahLst/>
            <a:cxnLst/>
            <a:rect l="l" t="t" r="r" b="b"/>
            <a:pathLst>
              <a:path w="1513" h="166415" extrusionOk="0">
                <a:moveTo>
                  <a:pt x="751" y="1"/>
                </a:moveTo>
                <a:cubicBezTo>
                  <a:pt x="346" y="1"/>
                  <a:pt x="1" y="334"/>
                  <a:pt x="1" y="751"/>
                </a:cubicBezTo>
                <a:lnTo>
                  <a:pt x="1" y="165664"/>
                </a:lnTo>
                <a:cubicBezTo>
                  <a:pt x="1" y="166081"/>
                  <a:pt x="334" y="166414"/>
                  <a:pt x="751" y="166414"/>
                </a:cubicBezTo>
                <a:cubicBezTo>
                  <a:pt x="1167" y="166414"/>
                  <a:pt x="1513" y="166081"/>
                  <a:pt x="1513" y="165664"/>
                </a:cubicBezTo>
                <a:lnTo>
                  <a:pt x="1513" y="751"/>
                </a:lnTo>
                <a:cubicBezTo>
                  <a:pt x="1513" y="334"/>
                  <a:pt x="1167" y="1"/>
                  <a:pt x="75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" name="Google Shape;338;p19">
            <a:extLst>
              <a:ext uri="{FF2B5EF4-FFF2-40B4-BE49-F238E27FC236}">
                <a16:creationId xmlns:a16="http://schemas.microsoft.com/office/drawing/2014/main" id="{B074DB79-C097-53BC-5210-BB95DA6E04BF}"/>
              </a:ext>
            </a:extLst>
          </p:cNvPr>
          <p:cNvGrpSpPr/>
          <p:nvPr/>
        </p:nvGrpSpPr>
        <p:grpSpPr>
          <a:xfrm>
            <a:off x="6374003" y="3627360"/>
            <a:ext cx="2078594" cy="979497"/>
            <a:chOff x="2723278" y="3623609"/>
            <a:chExt cx="2078594" cy="979497"/>
          </a:xfrm>
        </p:grpSpPr>
        <p:sp>
          <p:nvSpPr>
            <p:cNvPr id="9" name="Google Shape;339;p19">
              <a:extLst>
                <a:ext uri="{FF2B5EF4-FFF2-40B4-BE49-F238E27FC236}">
                  <a16:creationId xmlns:a16="http://schemas.microsoft.com/office/drawing/2014/main" id="{8925CA10-1110-6665-B945-65EB780010E2}"/>
                </a:ext>
              </a:extLst>
            </p:cNvPr>
            <p:cNvSpPr/>
            <p:nvPr/>
          </p:nvSpPr>
          <p:spPr>
            <a:xfrm>
              <a:off x="2723278" y="3642186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0"/>
                  </a:moveTo>
                  <a:cubicBezTo>
                    <a:pt x="16310" y="0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6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4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50" y="18958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89"/>
                    <a:pt x="8020" y="16325"/>
                    <a:pt x="8743" y="16325"/>
                  </a:cubicBezTo>
                  <a:cubicBezTo>
                    <a:pt x="8765" y="16325"/>
                    <a:pt x="8788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69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6"/>
                    <a:pt x="47570" y="25126"/>
                  </a:cubicBezTo>
                  <a:cubicBezTo>
                    <a:pt x="49509" y="25126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3"/>
                    <a:pt x="50245" y="1050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0"/>
                    <a:pt x="18228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340;p19">
              <a:extLst>
                <a:ext uri="{FF2B5EF4-FFF2-40B4-BE49-F238E27FC236}">
                  <a16:creationId xmlns:a16="http://schemas.microsoft.com/office/drawing/2014/main" id="{0906E6F3-139D-7609-195B-DA03E6A6FD27}"/>
                </a:ext>
              </a:extLst>
            </p:cNvPr>
            <p:cNvSpPr/>
            <p:nvPr/>
          </p:nvSpPr>
          <p:spPr>
            <a:xfrm>
              <a:off x="4624272" y="3879385"/>
              <a:ext cx="177598" cy="256288"/>
            </a:xfrm>
            <a:custGeom>
              <a:avLst/>
              <a:gdLst/>
              <a:ahLst/>
              <a:cxnLst/>
              <a:rect l="l" t="t" r="r" b="b"/>
              <a:pathLst>
                <a:path w="4644" h="6025" extrusionOk="0">
                  <a:moveTo>
                    <a:pt x="0" y="0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3"/>
                  </a:cubicBezTo>
                  <a:cubicBezTo>
                    <a:pt x="3215" y="346"/>
                    <a:pt x="2465" y="0"/>
                    <a:pt x="1643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1" name="Google Shape;341;p19">
              <a:extLst>
                <a:ext uri="{FF2B5EF4-FFF2-40B4-BE49-F238E27FC236}">
                  <a16:creationId xmlns:a16="http://schemas.microsoft.com/office/drawing/2014/main" id="{84C4A120-70DA-A173-FED8-A5998721CA38}"/>
                </a:ext>
              </a:extLst>
            </p:cNvPr>
            <p:cNvSpPr/>
            <p:nvPr/>
          </p:nvSpPr>
          <p:spPr>
            <a:xfrm>
              <a:off x="2725573" y="3624059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0"/>
                  </a:moveTo>
                  <a:cubicBezTo>
                    <a:pt x="15633" y="0"/>
                    <a:pt x="14037" y="1596"/>
                    <a:pt x="14037" y="3548"/>
                  </a:cubicBezTo>
                  <a:lnTo>
                    <a:pt x="14037" y="12716"/>
                  </a:lnTo>
                  <a:cubicBezTo>
                    <a:pt x="14037" y="13847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59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1"/>
                    <a:pt x="3739" y="19431"/>
                  </a:cubicBezTo>
                  <a:cubicBezTo>
                    <a:pt x="5084" y="19431"/>
                    <a:pt x="6275" y="18705"/>
                    <a:pt x="6929" y="17633"/>
                  </a:cubicBezTo>
                  <a:cubicBezTo>
                    <a:pt x="7287" y="17026"/>
                    <a:pt x="7941" y="16633"/>
                    <a:pt x="8692" y="16633"/>
                  </a:cubicBezTo>
                  <a:lnTo>
                    <a:pt x="11990" y="16633"/>
                  </a:lnTo>
                  <a:cubicBezTo>
                    <a:pt x="13121" y="16633"/>
                    <a:pt x="14037" y="17538"/>
                    <a:pt x="14037" y="18669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48"/>
                  </a:lnTo>
                  <a:cubicBezTo>
                    <a:pt x="50721" y="1596"/>
                    <a:pt x="49137" y="0"/>
                    <a:pt x="47173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2" name="Google Shape;342;p19">
              <a:extLst>
                <a:ext uri="{FF2B5EF4-FFF2-40B4-BE49-F238E27FC236}">
                  <a16:creationId xmlns:a16="http://schemas.microsoft.com/office/drawing/2014/main" id="{B834AEBE-67E0-14A7-CC93-C735E7163B8D}"/>
                </a:ext>
              </a:extLst>
            </p:cNvPr>
            <p:cNvSpPr/>
            <p:nvPr/>
          </p:nvSpPr>
          <p:spPr>
            <a:xfrm>
              <a:off x="2752419" y="410805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3" name="Google Shape;343;p19">
              <a:extLst>
                <a:ext uri="{FF2B5EF4-FFF2-40B4-BE49-F238E27FC236}">
                  <a16:creationId xmlns:a16="http://schemas.microsoft.com/office/drawing/2014/main" id="{86409286-4934-7671-5489-252DF7A4ED49}"/>
                </a:ext>
              </a:extLst>
            </p:cNvPr>
            <p:cNvSpPr/>
            <p:nvPr/>
          </p:nvSpPr>
          <p:spPr>
            <a:xfrm>
              <a:off x="3195458" y="3654023"/>
              <a:ext cx="1606414" cy="368715"/>
            </a:xfrm>
            <a:custGeom>
              <a:avLst/>
              <a:gdLst/>
              <a:ahLst/>
              <a:cxnLst/>
              <a:rect l="l" t="t" r="r" b="b"/>
              <a:pathLst>
                <a:path w="42006" h="8668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4"/>
                    <a:pt x="0" y="2893"/>
                    <a:pt x="0" y="3012"/>
                  </a:cubicBezTo>
                  <a:cubicBezTo>
                    <a:pt x="0" y="4667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7"/>
                    <a:pt x="41982" y="8668"/>
                  </a:cubicBezTo>
                  <a:lnTo>
                    <a:pt x="42005" y="8311"/>
                  </a:lnTo>
                  <a:lnTo>
                    <a:pt x="42005" y="3012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5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344;p19">
              <a:extLst>
                <a:ext uri="{FF2B5EF4-FFF2-40B4-BE49-F238E27FC236}">
                  <a16:creationId xmlns:a16="http://schemas.microsoft.com/office/drawing/2014/main" id="{92DFED7A-21BD-E3D5-1B8A-CDD2DECD66BC}"/>
                </a:ext>
              </a:extLst>
            </p:cNvPr>
            <p:cNvSpPr/>
            <p:nvPr/>
          </p:nvSpPr>
          <p:spPr>
            <a:xfrm>
              <a:off x="3195458" y="3623609"/>
              <a:ext cx="1606414" cy="383943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59"/>
                    <a:pt x="41124" y="6906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29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5" name="Google Shape;345;p19">
              <a:extLst>
                <a:ext uri="{FF2B5EF4-FFF2-40B4-BE49-F238E27FC236}">
                  <a16:creationId xmlns:a16="http://schemas.microsoft.com/office/drawing/2014/main" id="{6CD84315-A122-FEF7-7737-0C5BC7B7AE70}"/>
                </a:ext>
              </a:extLst>
            </p:cNvPr>
            <p:cNvSpPr txBox="1"/>
            <p:nvPr/>
          </p:nvSpPr>
          <p:spPr>
            <a:xfrm>
              <a:off x="3265722" y="3955988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ke sure output solves prompts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6" name="Google Shape;346;p19">
              <a:extLst>
                <a:ext uri="{FF2B5EF4-FFF2-40B4-BE49-F238E27FC236}">
                  <a16:creationId xmlns:a16="http://schemas.microsoft.com/office/drawing/2014/main" id="{61BEBF24-5F49-AB7A-15D1-508CEE6C9DD8}"/>
                </a:ext>
              </a:extLst>
            </p:cNvPr>
            <p:cNvSpPr txBox="1"/>
            <p:nvPr/>
          </p:nvSpPr>
          <p:spPr>
            <a:xfrm>
              <a:off x="3195450" y="36238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est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17" name="Google Shape;347;p19">
            <a:extLst>
              <a:ext uri="{FF2B5EF4-FFF2-40B4-BE49-F238E27FC236}">
                <a16:creationId xmlns:a16="http://schemas.microsoft.com/office/drawing/2014/main" id="{2C78506E-A503-BD61-6D94-1C8F5486D44E}"/>
              </a:ext>
            </a:extLst>
          </p:cNvPr>
          <p:cNvGrpSpPr/>
          <p:nvPr/>
        </p:nvGrpSpPr>
        <p:grpSpPr>
          <a:xfrm>
            <a:off x="6374003" y="2391176"/>
            <a:ext cx="2078594" cy="979041"/>
            <a:chOff x="2723278" y="2387425"/>
            <a:chExt cx="2078594" cy="979041"/>
          </a:xfrm>
        </p:grpSpPr>
        <p:sp>
          <p:nvSpPr>
            <p:cNvPr id="18" name="Google Shape;348;p19">
              <a:extLst>
                <a:ext uri="{FF2B5EF4-FFF2-40B4-BE49-F238E27FC236}">
                  <a16:creationId xmlns:a16="http://schemas.microsoft.com/office/drawing/2014/main" id="{18E69FBC-3E13-2EE9-8FB7-B3FCF4AA8B04}"/>
                </a:ext>
              </a:extLst>
            </p:cNvPr>
            <p:cNvSpPr/>
            <p:nvPr/>
          </p:nvSpPr>
          <p:spPr>
            <a:xfrm>
              <a:off x="2723278" y="240554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49" y="1"/>
                  </a:moveTo>
                  <a:cubicBezTo>
                    <a:pt x="16321" y="1"/>
                    <a:pt x="14715" y="1515"/>
                    <a:pt x="14657" y="3431"/>
                  </a:cubicBezTo>
                  <a:lnTo>
                    <a:pt x="14348" y="12599"/>
                  </a:lnTo>
                  <a:cubicBezTo>
                    <a:pt x="14312" y="13708"/>
                    <a:pt x="13396" y="14577"/>
                    <a:pt x="12283" y="14577"/>
                  </a:cubicBezTo>
                  <a:cubicBezTo>
                    <a:pt x="12261" y="14577"/>
                    <a:pt x="12239" y="14576"/>
                    <a:pt x="12216" y="14576"/>
                  </a:cubicBezTo>
                  <a:lnTo>
                    <a:pt x="8871" y="14468"/>
                  </a:lnTo>
                  <a:cubicBezTo>
                    <a:pt x="8121" y="14433"/>
                    <a:pt x="7466" y="14016"/>
                    <a:pt x="7132" y="13397"/>
                  </a:cubicBezTo>
                  <a:cubicBezTo>
                    <a:pt x="6501" y="12301"/>
                    <a:pt x="5334" y="11539"/>
                    <a:pt x="3965" y="11504"/>
                  </a:cubicBezTo>
                  <a:cubicBezTo>
                    <a:pt x="3921" y="11502"/>
                    <a:pt x="3876" y="11501"/>
                    <a:pt x="3832" y="11501"/>
                  </a:cubicBezTo>
                  <a:cubicBezTo>
                    <a:pt x="1807" y="11501"/>
                    <a:pt x="130" y="13084"/>
                    <a:pt x="60" y="15099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60" y="18959"/>
                    <a:pt x="3806" y="18959"/>
                    <a:pt x="3850" y="18959"/>
                  </a:cubicBezTo>
                  <a:cubicBezTo>
                    <a:pt x="5164" y="18959"/>
                    <a:pt x="6322" y="18291"/>
                    <a:pt x="7001" y="17266"/>
                  </a:cubicBezTo>
                  <a:cubicBezTo>
                    <a:pt x="7371" y="16700"/>
                    <a:pt x="8021" y="16325"/>
                    <a:pt x="8745" y="16325"/>
                  </a:cubicBezTo>
                  <a:cubicBezTo>
                    <a:pt x="8767" y="16325"/>
                    <a:pt x="8789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21"/>
                    <a:pt x="14157" y="18540"/>
                  </a:cubicBezTo>
                  <a:lnTo>
                    <a:pt x="14097" y="20481"/>
                  </a:lnTo>
                  <a:cubicBezTo>
                    <a:pt x="14026" y="22434"/>
                    <a:pt x="15586" y="24077"/>
                    <a:pt x="17562" y="24148"/>
                  </a:cubicBezTo>
                  <a:lnTo>
                    <a:pt x="47459" y="25124"/>
                  </a:lnTo>
                  <a:cubicBezTo>
                    <a:pt x="47503" y="25126"/>
                    <a:pt x="47548" y="25127"/>
                    <a:pt x="47592" y="25127"/>
                  </a:cubicBezTo>
                  <a:cubicBezTo>
                    <a:pt x="49520" y="25127"/>
                    <a:pt x="51104" y="23616"/>
                    <a:pt x="51174" y="21695"/>
                  </a:cubicBezTo>
                  <a:lnTo>
                    <a:pt x="51733" y="4658"/>
                  </a:lnTo>
                  <a:cubicBezTo>
                    <a:pt x="51793" y="2693"/>
                    <a:pt x="50245" y="1050"/>
                    <a:pt x="48257" y="991"/>
                  </a:cubicBezTo>
                  <a:lnTo>
                    <a:pt x="18360" y="2"/>
                  </a:lnTo>
                  <a:cubicBezTo>
                    <a:pt x="18323" y="1"/>
                    <a:pt x="18286" y="1"/>
                    <a:pt x="18249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349;p19">
              <a:extLst>
                <a:ext uri="{FF2B5EF4-FFF2-40B4-BE49-F238E27FC236}">
                  <a16:creationId xmlns:a16="http://schemas.microsoft.com/office/drawing/2014/main" id="{010DEEC5-A79E-ABDD-11EB-A0B695831937}"/>
                </a:ext>
              </a:extLst>
            </p:cNvPr>
            <p:cNvSpPr/>
            <p:nvPr/>
          </p:nvSpPr>
          <p:spPr>
            <a:xfrm>
              <a:off x="4624272" y="264341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0" y="1"/>
                  </a:moveTo>
                  <a:lnTo>
                    <a:pt x="0" y="6014"/>
                  </a:lnTo>
                  <a:lnTo>
                    <a:pt x="1643" y="6014"/>
                  </a:lnTo>
                  <a:cubicBezTo>
                    <a:pt x="3298" y="6014"/>
                    <a:pt x="4643" y="4668"/>
                    <a:pt x="4643" y="3001"/>
                  </a:cubicBezTo>
                  <a:cubicBezTo>
                    <a:pt x="4643" y="2180"/>
                    <a:pt x="4310" y="1430"/>
                    <a:pt x="3762" y="882"/>
                  </a:cubicBezTo>
                  <a:cubicBezTo>
                    <a:pt x="3215" y="334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0" name="Google Shape;350;p19">
              <a:extLst>
                <a:ext uri="{FF2B5EF4-FFF2-40B4-BE49-F238E27FC236}">
                  <a16:creationId xmlns:a16="http://schemas.microsoft.com/office/drawing/2014/main" id="{C0386103-0374-8EAA-D897-EB6A769E0CE7}"/>
                </a:ext>
              </a:extLst>
            </p:cNvPr>
            <p:cNvSpPr/>
            <p:nvPr/>
          </p:nvSpPr>
          <p:spPr>
            <a:xfrm>
              <a:off x="2725573" y="2387840"/>
              <a:ext cx="1939698" cy="923442"/>
            </a:xfrm>
            <a:custGeom>
              <a:avLst/>
              <a:gdLst/>
              <a:ahLst/>
              <a:cxnLst/>
              <a:rect l="l" t="t" r="r" b="b"/>
              <a:pathLst>
                <a:path w="50721" h="24147" extrusionOk="0">
                  <a:moveTo>
                    <a:pt x="17597" y="1"/>
                  </a:moveTo>
                  <a:cubicBezTo>
                    <a:pt x="15633" y="1"/>
                    <a:pt x="14037" y="1585"/>
                    <a:pt x="14037" y="3549"/>
                  </a:cubicBezTo>
                  <a:lnTo>
                    <a:pt x="14037" y="12717"/>
                  </a:lnTo>
                  <a:cubicBezTo>
                    <a:pt x="14037" y="13848"/>
                    <a:pt x="13121" y="14765"/>
                    <a:pt x="11990" y="14765"/>
                  </a:cubicBezTo>
                  <a:lnTo>
                    <a:pt x="8692" y="14765"/>
                  </a:lnTo>
                  <a:cubicBezTo>
                    <a:pt x="7941" y="14765"/>
                    <a:pt x="7287" y="14360"/>
                    <a:pt x="6929" y="13753"/>
                  </a:cubicBezTo>
                  <a:cubicBezTo>
                    <a:pt x="6275" y="12681"/>
                    <a:pt x="5084" y="11955"/>
                    <a:pt x="3739" y="11955"/>
                  </a:cubicBezTo>
                  <a:cubicBezTo>
                    <a:pt x="1679" y="11955"/>
                    <a:pt x="0" y="13634"/>
                    <a:pt x="0" y="15693"/>
                  </a:cubicBezTo>
                  <a:cubicBezTo>
                    <a:pt x="0" y="17753"/>
                    <a:pt x="1679" y="19420"/>
                    <a:pt x="3739" y="19420"/>
                  </a:cubicBezTo>
                  <a:cubicBezTo>
                    <a:pt x="5084" y="19420"/>
                    <a:pt x="6275" y="18706"/>
                    <a:pt x="6929" y="17622"/>
                  </a:cubicBezTo>
                  <a:cubicBezTo>
                    <a:pt x="7287" y="17027"/>
                    <a:pt x="7941" y="16622"/>
                    <a:pt x="8692" y="16622"/>
                  </a:cubicBezTo>
                  <a:lnTo>
                    <a:pt x="11990" y="16622"/>
                  </a:lnTo>
                  <a:cubicBezTo>
                    <a:pt x="13121" y="16622"/>
                    <a:pt x="14037" y="17539"/>
                    <a:pt x="14037" y="18670"/>
                  </a:cubicBezTo>
                  <a:lnTo>
                    <a:pt x="14037" y="20599"/>
                  </a:lnTo>
                  <a:cubicBezTo>
                    <a:pt x="14037" y="22551"/>
                    <a:pt x="15633" y="24147"/>
                    <a:pt x="17597" y="24147"/>
                  </a:cubicBezTo>
                  <a:lnTo>
                    <a:pt x="47173" y="24147"/>
                  </a:lnTo>
                  <a:cubicBezTo>
                    <a:pt x="49137" y="24147"/>
                    <a:pt x="50721" y="22551"/>
                    <a:pt x="50721" y="20599"/>
                  </a:cubicBezTo>
                  <a:lnTo>
                    <a:pt x="50721" y="3549"/>
                  </a:lnTo>
                  <a:cubicBezTo>
                    <a:pt x="50721" y="1585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1" name="Google Shape;351;p19">
              <a:extLst>
                <a:ext uri="{FF2B5EF4-FFF2-40B4-BE49-F238E27FC236}">
                  <a16:creationId xmlns:a16="http://schemas.microsoft.com/office/drawing/2014/main" id="{0F9E0DF7-73DD-BD0E-B8EF-9C7B360CAD62}"/>
                </a:ext>
              </a:extLst>
            </p:cNvPr>
            <p:cNvSpPr/>
            <p:nvPr/>
          </p:nvSpPr>
          <p:spPr>
            <a:xfrm>
              <a:off x="2752419" y="287187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0"/>
                  </a:moveTo>
                  <a:cubicBezTo>
                    <a:pt x="1358" y="0"/>
                    <a:pt x="0" y="1358"/>
                    <a:pt x="0" y="3036"/>
                  </a:cubicBezTo>
                  <a:cubicBezTo>
                    <a:pt x="0" y="4715"/>
                    <a:pt x="1358" y="6072"/>
                    <a:pt x="3037" y="6072"/>
                  </a:cubicBezTo>
                  <a:cubicBezTo>
                    <a:pt x="4715" y="6072"/>
                    <a:pt x="6073" y="4715"/>
                    <a:pt x="6073" y="3036"/>
                  </a:cubicBezTo>
                  <a:cubicBezTo>
                    <a:pt x="6073" y="1358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352;p19">
              <a:extLst>
                <a:ext uri="{FF2B5EF4-FFF2-40B4-BE49-F238E27FC236}">
                  <a16:creationId xmlns:a16="http://schemas.microsoft.com/office/drawing/2014/main" id="{BE1E2195-21A6-BB86-3C83-F18FD79DF686}"/>
                </a:ext>
              </a:extLst>
            </p:cNvPr>
            <p:cNvSpPr/>
            <p:nvPr/>
          </p:nvSpPr>
          <p:spPr>
            <a:xfrm>
              <a:off x="3195458" y="241731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1465" y="1"/>
                    <a:pt x="191" y="1168"/>
                    <a:pt x="12" y="2656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80"/>
                    <a:pt x="1346" y="6025"/>
                    <a:pt x="3001" y="6025"/>
                  </a:cubicBezTo>
                  <a:lnTo>
                    <a:pt x="39005" y="6025"/>
                  </a:lnTo>
                  <a:cubicBezTo>
                    <a:pt x="39827" y="6025"/>
                    <a:pt x="40589" y="6359"/>
                    <a:pt x="41124" y="6906"/>
                  </a:cubicBezTo>
                  <a:cubicBezTo>
                    <a:pt x="41589" y="7371"/>
                    <a:pt x="41898" y="7990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92"/>
                    <a:pt x="41672" y="1430"/>
                    <a:pt x="41124" y="894"/>
                  </a:cubicBezTo>
                  <a:cubicBezTo>
                    <a:pt x="40589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3" name="Google Shape;353;p19">
              <a:extLst>
                <a:ext uri="{FF2B5EF4-FFF2-40B4-BE49-F238E27FC236}">
                  <a16:creationId xmlns:a16="http://schemas.microsoft.com/office/drawing/2014/main" id="{43A4A958-CE97-F05E-A352-0D4F34078236}"/>
                </a:ext>
              </a:extLst>
            </p:cNvPr>
            <p:cNvSpPr/>
            <p:nvPr/>
          </p:nvSpPr>
          <p:spPr>
            <a:xfrm>
              <a:off x="3195458" y="2387428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1346" y="0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46"/>
                    <a:pt x="41124" y="6894"/>
                  </a:cubicBezTo>
                  <a:cubicBezTo>
                    <a:pt x="41672" y="7442"/>
                    <a:pt x="42005" y="8192"/>
                    <a:pt x="42005" y="9013"/>
                  </a:cubicBez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77" y="334"/>
                    <a:pt x="39827" y="0"/>
                    <a:pt x="39005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4" name="Google Shape;354;p19">
              <a:extLst>
                <a:ext uri="{FF2B5EF4-FFF2-40B4-BE49-F238E27FC236}">
                  <a16:creationId xmlns:a16="http://schemas.microsoft.com/office/drawing/2014/main" id="{166320F0-CCB3-F892-39B4-120280EC6791}"/>
                </a:ext>
              </a:extLst>
            </p:cNvPr>
            <p:cNvSpPr txBox="1"/>
            <p:nvPr/>
          </p:nvSpPr>
          <p:spPr>
            <a:xfrm>
              <a:off x="3265722" y="271575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rain model with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25" name="Google Shape;355;p19">
              <a:extLst>
                <a:ext uri="{FF2B5EF4-FFF2-40B4-BE49-F238E27FC236}">
                  <a16:creationId xmlns:a16="http://schemas.microsoft.com/office/drawing/2014/main" id="{0AB07A8E-6132-3718-E204-6EC03DB0058F}"/>
                </a:ext>
              </a:extLst>
            </p:cNvPr>
            <p:cNvSpPr txBox="1"/>
            <p:nvPr/>
          </p:nvSpPr>
          <p:spPr>
            <a:xfrm>
              <a:off x="3195450" y="23874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rain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26" name="Google Shape;356;p19">
            <a:extLst>
              <a:ext uri="{FF2B5EF4-FFF2-40B4-BE49-F238E27FC236}">
                <a16:creationId xmlns:a16="http://schemas.microsoft.com/office/drawing/2014/main" id="{363CB442-5B41-9EA5-3609-0A6BFB101BCF}"/>
              </a:ext>
            </a:extLst>
          </p:cNvPr>
          <p:cNvGrpSpPr/>
          <p:nvPr/>
        </p:nvGrpSpPr>
        <p:grpSpPr>
          <a:xfrm>
            <a:off x="6374003" y="1144475"/>
            <a:ext cx="2078594" cy="989523"/>
            <a:chOff x="2723278" y="1140724"/>
            <a:chExt cx="2078594" cy="989523"/>
          </a:xfrm>
        </p:grpSpPr>
        <p:sp>
          <p:nvSpPr>
            <p:cNvPr id="27" name="Google Shape;357;p19">
              <a:extLst>
                <a:ext uri="{FF2B5EF4-FFF2-40B4-BE49-F238E27FC236}">
                  <a16:creationId xmlns:a16="http://schemas.microsoft.com/office/drawing/2014/main" id="{EE00E48D-BEF0-D033-3ED3-3FA5486E19CE}"/>
                </a:ext>
              </a:extLst>
            </p:cNvPr>
            <p:cNvSpPr/>
            <p:nvPr/>
          </p:nvSpPr>
          <p:spPr>
            <a:xfrm>
              <a:off x="2723278" y="1169328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1"/>
                  </a:moveTo>
                  <a:cubicBezTo>
                    <a:pt x="16310" y="1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7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5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60"/>
                    <a:pt x="1632" y="18886"/>
                    <a:pt x="3715" y="18958"/>
                  </a:cubicBezTo>
                  <a:cubicBezTo>
                    <a:pt x="3750" y="18959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90"/>
                    <a:pt x="8020" y="16325"/>
                    <a:pt x="8743" y="16325"/>
                  </a:cubicBezTo>
                  <a:cubicBezTo>
                    <a:pt x="8765" y="16325"/>
                    <a:pt x="8788" y="16326"/>
                    <a:pt x="8811" y="16326"/>
                  </a:cubicBezTo>
                  <a:lnTo>
                    <a:pt x="12157" y="16434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70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7"/>
                    <a:pt x="47570" y="25127"/>
                  </a:cubicBezTo>
                  <a:cubicBezTo>
                    <a:pt x="49509" y="25127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4"/>
                    <a:pt x="50245" y="1051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1"/>
                    <a:pt x="18228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358;p19">
              <a:extLst>
                <a:ext uri="{FF2B5EF4-FFF2-40B4-BE49-F238E27FC236}">
                  <a16:creationId xmlns:a16="http://schemas.microsoft.com/office/drawing/2014/main" id="{4C45B391-0EBD-FBC1-E89D-BC4A3C61C49C}"/>
                </a:ext>
              </a:extLst>
            </p:cNvPr>
            <p:cNvSpPr/>
            <p:nvPr/>
          </p:nvSpPr>
          <p:spPr>
            <a:xfrm>
              <a:off x="4624272" y="1406505"/>
              <a:ext cx="177598" cy="256316"/>
            </a:xfrm>
            <a:custGeom>
              <a:avLst/>
              <a:gdLst/>
              <a:ahLst/>
              <a:cxnLst/>
              <a:rect l="l" t="t" r="r" b="b"/>
              <a:pathLst>
                <a:path w="4644" h="6026" extrusionOk="0">
                  <a:moveTo>
                    <a:pt x="0" y="1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4"/>
                  </a:cubicBezTo>
                  <a:cubicBezTo>
                    <a:pt x="3215" y="346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9" name="Google Shape;359;p19">
              <a:extLst>
                <a:ext uri="{FF2B5EF4-FFF2-40B4-BE49-F238E27FC236}">
                  <a16:creationId xmlns:a16="http://schemas.microsoft.com/office/drawing/2014/main" id="{735C1EAF-3922-D645-80E5-AF0CF28C0D00}"/>
                </a:ext>
              </a:extLst>
            </p:cNvPr>
            <p:cNvSpPr/>
            <p:nvPr/>
          </p:nvSpPr>
          <p:spPr>
            <a:xfrm>
              <a:off x="2725573" y="1151201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1"/>
                  </a:moveTo>
                  <a:cubicBezTo>
                    <a:pt x="15633" y="1"/>
                    <a:pt x="14037" y="1596"/>
                    <a:pt x="14037" y="3561"/>
                  </a:cubicBezTo>
                  <a:lnTo>
                    <a:pt x="14037" y="12717"/>
                  </a:lnTo>
                  <a:cubicBezTo>
                    <a:pt x="14037" y="13848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60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2"/>
                    <a:pt x="3739" y="19432"/>
                  </a:cubicBezTo>
                  <a:cubicBezTo>
                    <a:pt x="5084" y="19432"/>
                    <a:pt x="6275" y="18705"/>
                    <a:pt x="6929" y="17634"/>
                  </a:cubicBezTo>
                  <a:cubicBezTo>
                    <a:pt x="7287" y="17027"/>
                    <a:pt x="7941" y="16634"/>
                    <a:pt x="8692" y="16634"/>
                  </a:cubicBezTo>
                  <a:lnTo>
                    <a:pt x="11990" y="16634"/>
                  </a:lnTo>
                  <a:cubicBezTo>
                    <a:pt x="13121" y="16634"/>
                    <a:pt x="14037" y="17539"/>
                    <a:pt x="14037" y="18670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61"/>
                  </a:lnTo>
                  <a:cubicBezTo>
                    <a:pt x="50721" y="1596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0" name="Google Shape;360;p19">
              <a:extLst>
                <a:ext uri="{FF2B5EF4-FFF2-40B4-BE49-F238E27FC236}">
                  <a16:creationId xmlns:a16="http://schemas.microsoft.com/office/drawing/2014/main" id="{B0250220-4F43-94EC-5479-D17FB1FEAF20}"/>
                </a:ext>
              </a:extLst>
            </p:cNvPr>
            <p:cNvSpPr/>
            <p:nvPr/>
          </p:nvSpPr>
          <p:spPr>
            <a:xfrm>
              <a:off x="2752419" y="1635195"/>
              <a:ext cx="232247" cy="232285"/>
            </a:xfrm>
            <a:custGeom>
              <a:avLst/>
              <a:gdLst/>
              <a:ahLst/>
              <a:cxnLst/>
              <a:rect l="l" t="t" r="r" b="b"/>
              <a:pathLst>
                <a:path w="6073" h="6074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1" name="Google Shape;361;p19">
              <a:extLst>
                <a:ext uri="{FF2B5EF4-FFF2-40B4-BE49-F238E27FC236}">
                  <a16:creationId xmlns:a16="http://schemas.microsoft.com/office/drawing/2014/main" id="{B9C2E377-FBB7-BACE-D669-75B840CC9687}"/>
                </a:ext>
              </a:extLst>
            </p:cNvPr>
            <p:cNvSpPr/>
            <p:nvPr/>
          </p:nvSpPr>
          <p:spPr>
            <a:xfrm>
              <a:off x="3195458" y="1181162"/>
              <a:ext cx="1606414" cy="36873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8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6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2" name="Google Shape;362;p19">
              <a:extLst>
                <a:ext uri="{FF2B5EF4-FFF2-40B4-BE49-F238E27FC236}">
                  <a16:creationId xmlns:a16="http://schemas.microsoft.com/office/drawing/2014/main" id="{4A81ED20-F49E-7F84-EA78-2BF1B239E57E}"/>
                </a:ext>
              </a:extLst>
            </p:cNvPr>
            <p:cNvSpPr/>
            <p:nvPr/>
          </p:nvSpPr>
          <p:spPr>
            <a:xfrm>
              <a:off x="3195458" y="1150750"/>
              <a:ext cx="1606414" cy="383921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4"/>
                    <a:pt x="3001" y="6014"/>
                  </a:cubicBezTo>
                  <a:lnTo>
                    <a:pt x="39005" y="6014"/>
                  </a:lnTo>
                  <a:cubicBezTo>
                    <a:pt x="39827" y="6014"/>
                    <a:pt x="40577" y="6359"/>
                    <a:pt x="41124" y="6907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30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3" name="Google Shape;363;p19">
              <a:extLst>
                <a:ext uri="{FF2B5EF4-FFF2-40B4-BE49-F238E27FC236}">
                  <a16:creationId xmlns:a16="http://schemas.microsoft.com/office/drawing/2014/main" id="{BC794B05-5D85-8D8E-35E9-689E5F6C33FA}"/>
                </a:ext>
              </a:extLst>
            </p:cNvPr>
            <p:cNvSpPr txBox="1"/>
            <p:nvPr/>
          </p:nvSpPr>
          <p:spPr>
            <a:xfrm>
              <a:off x="3265722" y="147550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Put into data frame as one string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34" name="Google Shape;364;p19">
              <a:extLst>
                <a:ext uri="{FF2B5EF4-FFF2-40B4-BE49-F238E27FC236}">
                  <a16:creationId xmlns:a16="http://schemas.microsoft.com/office/drawing/2014/main" id="{01D06765-A5ED-62E4-720C-B4C9B93FA95B}"/>
                </a:ext>
              </a:extLst>
            </p:cNvPr>
            <p:cNvSpPr txBox="1"/>
            <p:nvPr/>
          </p:nvSpPr>
          <p:spPr>
            <a:xfrm>
              <a:off x="3195450" y="1140724"/>
              <a:ext cx="1579989" cy="26592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Preprocess Data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35" name="Google Shape;365;p19">
            <a:extLst>
              <a:ext uri="{FF2B5EF4-FFF2-40B4-BE49-F238E27FC236}">
                <a16:creationId xmlns:a16="http://schemas.microsoft.com/office/drawing/2014/main" id="{0BADACB9-1085-F688-313B-7C43F818523C}"/>
              </a:ext>
            </a:extLst>
          </p:cNvPr>
          <p:cNvGrpSpPr/>
          <p:nvPr/>
        </p:nvGrpSpPr>
        <p:grpSpPr>
          <a:xfrm>
            <a:off x="4584563" y="536651"/>
            <a:ext cx="2079971" cy="979046"/>
            <a:chOff x="933838" y="532900"/>
            <a:chExt cx="2079971" cy="979046"/>
          </a:xfrm>
        </p:grpSpPr>
        <p:sp>
          <p:nvSpPr>
            <p:cNvPr id="36" name="Google Shape;366;p19">
              <a:extLst>
                <a:ext uri="{FF2B5EF4-FFF2-40B4-BE49-F238E27FC236}">
                  <a16:creationId xmlns:a16="http://schemas.microsoft.com/office/drawing/2014/main" id="{AEAFFB94-29F2-E5C1-D5BD-8F27940CD915}"/>
                </a:ext>
              </a:extLst>
            </p:cNvPr>
            <p:cNvSpPr/>
            <p:nvPr/>
          </p:nvSpPr>
          <p:spPr>
            <a:xfrm>
              <a:off x="1033115" y="55102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33544" y="1"/>
                  </a:moveTo>
                  <a:cubicBezTo>
                    <a:pt x="33507" y="1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8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6"/>
                    <a:pt x="4322" y="25124"/>
                  </a:cubicBezTo>
                  <a:lnTo>
                    <a:pt x="34231" y="24136"/>
                  </a:lnTo>
                  <a:cubicBezTo>
                    <a:pt x="36207" y="24077"/>
                    <a:pt x="37767" y="22434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26"/>
                  </a:lnTo>
                  <a:cubicBezTo>
                    <a:pt x="43004" y="16325"/>
                    <a:pt x="43026" y="16325"/>
                    <a:pt x="43049" y="16325"/>
                  </a:cubicBezTo>
                  <a:cubicBezTo>
                    <a:pt x="43772" y="16325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9"/>
                    <a:pt x="48078" y="18957"/>
                  </a:cubicBezTo>
                  <a:cubicBezTo>
                    <a:pt x="50162" y="18886"/>
                    <a:pt x="51793" y="17159"/>
                    <a:pt x="51721" y="15099"/>
                  </a:cubicBezTo>
                  <a:cubicBezTo>
                    <a:pt x="51663" y="13077"/>
                    <a:pt x="49974" y="11490"/>
                    <a:pt x="47940" y="11490"/>
                  </a:cubicBezTo>
                  <a:cubicBezTo>
                    <a:pt x="47903" y="11490"/>
                    <a:pt x="47865" y="11491"/>
                    <a:pt x="47828" y="11492"/>
                  </a:cubicBezTo>
                  <a:cubicBezTo>
                    <a:pt x="46459" y="11539"/>
                    <a:pt x="45292" y="12301"/>
                    <a:pt x="44661" y="13397"/>
                  </a:cubicBezTo>
                  <a:cubicBezTo>
                    <a:pt x="44327" y="14004"/>
                    <a:pt x="43673" y="14433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7"/>
                    <a:pt x="39511" y="14577"/>
                  </a:cubicBezTo>
                  <a:cubicBezTo>
                    <a:pt x="38397" y="14577"/>
                    <a:pt x="37480" y="13697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1"/>
                    <a:pt x="33544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7" name="Google Shape;367;p19">
              <a:extLst>
                <a:ext uri="{FF2B5EF4-FFF2-40B4-BE49-F238E27FC236}">
                  <a16:creationId xmlns:a16="http://schemas.microsoft.com/office/drawing/2014/main" id="{83656B75-FA65-EADB-2A16-79FDF08446F0}"/>
                </a:ext>
              </a:extLst>
            </p:cNvPr>
            <p:cNvSpPr/>
            <p:nvPr/>
          </p:nvSpPr>
          <p:spPr>
            <a:xfrm>
              <a:off x="933838" y="78889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80"/>
                    <a:pt x="1" y="3001"/>
                  </a:cubicBezTo>
                  <a:cubicBezTo>
                    <a:pt x="1" y="4668"/>
                    <a:pt x="1346" y="6014"/>
                    <a:pt x="3001" y="6014"/>
                  </a:cubicBezTo>
                  <a:lnTo>
                    <a:pt x="4644" y="6014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8" name="Google Shape;368;p19">
              <a:extLst>
                <a:ext uri="{FF2B5EF4-FFF2-40B4-BE49-F238E27FC236}">
                  <a16:creationId xmlns:a16="http://schemas.microsoft.com/office/drawing/2014/main" id="{7E701376-48ED-70B6-D905-39B99D47F14E}"/>
                </a:ext>
              </a:extLst>
            </p:cNvPr>
            <p:cNvSpPr/>
            <p:nvPr/>
          </p:nvSpPr>
          <p:spPr>
            <a:xfrm>
              <a:off x="1071816" y="532900"/>
              <a:ext cx="1939277" cy="923862"/>
            </a:xfrm>
            <a:custGeom>
              <a:avLst/>
              <a:gdLst/>
              <a:ahLst/>
              <a:cxnLst/>
              <a:rect l="l" t="t" r="r" b="b"/>
              <a:pathLst>
                <a:path w="50710" h="24158" extrusionOk="0">
                  <a:moveTo>
                    <a:pt x="3549" y="0"/>
                  </a:moveTo>
                  <a:cubicBezTo>
                    <a:pt x="1584" y="0"/>
                    <a:pt x="1" y="1595"/>
                    <a:pt x="1" y="3560"/>
                  </a:cubicBezTo>
                  <a:lnTo>
                    <a:pt x="1" y="20610"/>
                  </a:lnTo>
                  <a:cubicBezTo>
                    <a:pt x="1" y="22562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2"/>
                    <a:pt x="36684" y="20610"/>
                  </a:cubicBezTo>
                  <a:lnTo>
                    <a:pt x="36684" y="18669"/>
                  </a:lnTo>
                  <a:cubicBezTo>
                    <a:pt x="36684" y="17550"/>
                    <a:pt x="37600" y="16633"/>
                    <a:pt x="38720" y="16633"/>
                  </a:cubicBezTo>
                  <a:lnTo>
                    <a:pt x="42030" y="16633"/>
                  </a:lnTo>
                  <a:cubicBezTo>
                    <a:pt x="42780" y="16633"/>
                    <a:pt x="43435" y="17038"/>
                    <a:pt x="43792" y="17633"/>
                  </a:cubicBezTo>
                  <a:cubicBezTo>
                    <a:pt x="44447" y="18705"/>
                    <a:pt x="45625" y="19431"/>
                    <a:pt x="46983" y="19431"/>
                  </a:cubicBezTo>
                  <a:cubicBezTo>
                    <a:pt x="49042" y="19431"/>
                    <a:pt x="50709" y="17752"/>
                    <a:pt x="50709" y="15692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2"/>
                    <a:pt x="43792" y="13764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28"/>
                  </a:cubicBezTo>
                  <a:lnTo>
                    <a:pt x="36684" y="3560"/>
                  </a:lnTo>
                  <a:cubicBezTo>
                    <a:pt x="36684" y="1595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9" name="Google Shape;369;p19">
              <a:extLst>
                <a:ext uri="{FF2B5EF4-FFF2-40B4-BE49-F238E27FC236}">
                  <a16:creationId xmlns:a16="http://schemas.microsoft.com/office/drawing/2014/main" id="{F478A4FC-C28A-AA2E-07A3-6DE1CFA16A04}"/>
                </a:ext>
              </a:extLst>
            </p:cNvPr>
            <p:cNvSpPr/>
            <p:nvPr/>
          </p:nvSpPr>
          <p:spPr>
            <a:xfrm>
              <a:off x="2752419" y="1016894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70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70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0" name="Google Shape;370;p19">
              <a:extLst>
                <a:ext uri="{FF2B5EF4-FFF2-40B4-BE49-F238E27FC236}">
                  <a16:creationId xmlns:a16="http://schemas.microsoft.com/office/drawing/2014/main" id="{D2CC46E4-0E18-C459-6731-7788D1035C52}"/>
                </a:ext>
              </a:extLst>
            </p:cNvPr>
            <p:cNvSpPr/>
            <p:nvPr/>
          </p:nvSpPr>
          <p:spPr>
            <a:xfrm>
              <a:off x="935214" y="56279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2168" y="1"/>
                    <a:pt x="1417" y="346"/>
                    <a:pt x="882" y="882"/>
                  </a:cubicBezTo>
                  <a:cubicBezTo>
                    <a:pt x="334" y="1429"/>
                    <a:pt x="1" y="2180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1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6"/>
                  </a:cubicBezTo>
                  <a:cubicBezTo>
                    <a:pt x="41815" y="1168"/>
                    <a:pt x="40541" y="1"/>
                    <a:pt x="39006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1" name="Google Shape;371;p19">
              <a:extLst>
                <a:ext uri="{FF2B5EF4-FFF2-40B4-BE49-F238E27FC236}">
                  <a16:creationId xmlns:a16="http://schemas.microsoft.com/office/drawing/2014/main" id="{BC0ADE3B-6BCB-A7F7-4E00-3B2C828E5260}"/>
                </a:ext>
              </a:extLst>
            </p:cNvPr>
            <p:cNvSpPr/>
            <p:nvPr/>
          </p:nvSpPr>
          <p:spPr>
            <a:xfrm>
              <a:off x="935214" y="532909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2168" y="0"/>
                    <a:pt x="1417" y="334"/>
                    <a:pt x="882" y="881"/>
                  </a:cubicBezTo>
                  <a:cubicBezTo>
                    <a:pt x="334" y="1417"/>
                    <a:pt x="1" y="2167"/>
                    <a:pt x="1" y="3001"/>
                  </a:cubicBezTo>
                  <a:lnTo>
                    <a:pt x="1" y="9013"/>
                  </a:lnTo>
                  <a:cubicBezTo>
                    <a:pt x="1" y="8192"/>
                    <a:pt x="334" y="7430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01"/>
                  </a:cubicBezTo>
                  <a:cubicBezTo>
                    <a:pt x="42006" y="1346"/>
                    <a:pt x="40660" y="0"/>
                    <a:pt x="39006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00"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2" name="Google Shape;372;p19">
              <a:extLst>
                <a:ext uri="{FF2B5EF4-FFF2-40B4-BE49-F238E27FC236}">
                  <a16:creationId xmlns:a16="http://schemas.microsoft.com/office/drawing/2014/main" id="{E28453F8-3EC6-DEDA-53C6-7ABEECD01F9A}"/>
                </a:ext>
              </a:extLst>
            </p:cNvPr>
            <p:cNvSpPr txBox="1"/>
            <p:nvPr/>
          </p:nvSpPr>
          <p:spPr>
            <a:xfrm>
              <a:off x="1081172" y="857225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5000 samples of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43" name="Google Shape;373;p19">
              <a:extLst>
                <a:ext uri="{FF2B5EF4-FFF2-40B4-BE49-F238E27FC236}">
                  <a16:creationId xmlns:a16="http://schemas.microsoft.com/office/drawing/2014/main" id="{33B1B2FE-6B07-658C-8002-785DCE648388}"/>
                </a:ext>
              </a:extLst>
            </p:cNvPr>
            <p:cNvSpPr txBox="1"/>
            <p:nvPr/>
          </p:nvSpPr>
          <p:spPr>
            <a:xfrm>
              <a:off x="1071825" y="532900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sym typeface="Fira Sans Extra Condensed Medium"/>
                </a:rPr>
                <a:t>Obtain Data</a:t>
              </a:r>
              <a:endParaRPr lang="en-US"/>
            </a:p>
          </p:txBody>
        </p:sp>
      </p:grpSp>
      <p:grpSp>
        <p:nvGrpSpPr>
          <p:cNvPr id="44" name="Google Shape;374;p19">
            <a:extLst>
              <a:ext uri="{FF2B5EF4-FFF2-40B4-BE49-F238E27FC236}">
                <a16:creationId xmlns:a16="http://schemas.microsoft.com/office/drawing/2014/main" id="{870EE28C-0036-35F6-40D7-794CBF7727D0}"/>
              </a:ext>
            </a:extLst>
          </p:cNvPr>
          <p:cNvGrpSpPr/>
          <p:nvPr/>
        </p:nvGrpSpPr>
        <p:grpSpPr>
          <a:xfrm>
            <a:off x="4584563" y="1772840"/>
            <a:ext cx="2079971" cy="979076"/>
            <a:chOff x="933838" y="1769089"/>
            <a:chExt cx="2079971" cy="979076"/>
          </a:xfrm>
        </p:grpSpPr>
        <p:sp>
          <p:nvSpPr>
            <p:cNvPr id="45" name="Google Shape;375;p19">
              <a:extLst>
                <a:ext uri="{FF2B5EF4-FFF2-40B4-BE49-F238E27FC236}">
                  <a16:creationId xmlns:a16="http://schemas.microsoft.com/office/drawing/2014/main" id="{41B1EE30-89B3-AED7-3C71-D8B988EBC1D5}"/>
                </a:ext>
              </a:extLst>
            </p:cNvPr>
            <p:cNvSpPr/>
            <p:nvPr/>
          </p:nvSpPr>
          <p:spPr>
            <a:xfrm>
              <a:off x="1033115" y="1787667"/>
              <a:ext cx="1980694" cy="960499"/>
            </a:xfrm>
            <a:custGeom>
              <a:avLst/>
              <a:gdLst/>
              <a:ahLst/>
              <a:cxnLst/>
              <a:rect l="l" t="t" r="r" b="b"/>
              <a:pathLst>
                <a:path w="51793" h="25116" extrusionOk="0">
                  <a:moveTo>
                    <a:pt x="33566" y="0"/>
                  </a:moveTo>
                  <a:cubicBezTo>
                    <a:pt x="33522" y="0"/>
                    <a:pt x="33478" y="1"/>
                    <a:pt x="33433" y="3"/>
                  </a:cubicBezTo>
                  <a:lnTo>
                    <a:pt x="3537" y="979"/>
                  </a:lnTo>
                  <a:cubicBezTo>
                    <a:pt x="1548" y="1050"/>
                    <a:pt x="0" y="2693"/>
                    <a:pt x="60" y="4646"/>
                  </a:cubicBezTo>
                  <a:lnTo>
                    <a:pt x="620" y="21684"/>
                  </a:lnTo>
                  <a:cubicBezTo>
                    <a:pt x="689" y="23604"/>
                    <a:pt x="2273" y="25115"/>
                    <a:pt x="4190" y="25115"/>
                  </a:cubicBezTo>
                  <a:cubicBezTo>
                    <a:pt x="4234" y="25115"/>
                    <a:pt x="4278" y="25114"/>
                    <a:pt x="4322" y="25113"/>
                  </a:cubicBezTo>
                  <a:lnTo>
                    <a:pt x="34231" y="24136"/>
                  </a:lnTo>
                  <a:cubicBezTo>
                    <a:pt x="36207" y="24065"/>
                    <a:pt x="37767" y="22422"/>
                    <a:pt x="37696" y="20469"/>
                  </a:cubicBezTo>
                  <a:lnTo>
                    <a:pt x="37636" y="18541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14"/>
                  </a:lnTo>
                  <a:cubicBezTo>
                    <a:pt x="43004" y="16313"/>
                    <a:pt x="43026" y="16313"/>
                    <a:pt x="43048" y="16313"/>
                  </a:cubicBezTo>
                  <a:cubicBezTo>
                    <a:pt x="43772" y="16313"/>
                    <a:pt x="44422" y="16689"/>
                    <a:pt x="44792" y="17267"/>
                  </a:cubicBezTo>
                  <a:cubicBezTo>
                    <a:pt x="45460" y="18280"/>
                    <a:pt x="46628" y="18948"/>
                    <a:pt x="47943" y="18948"/>
                  </a:cubicBezTo>
                  <a:cubicBezTo>
                    <a:pt x="47988" y="18948"/>
                    <a:pt x="48033" y="18947"/>
                    <a:pt x="48078" y="18945"/>
                  </a:cubicBezTo>
                  <a:cubicBezTo>
                    <a:pt x="50162" y="18886"/>
                    <a:pt x="51793" y="17159"/>
                    <a:pt x="51721" y="15100"/>
                  </a:cubicBezTo>
                  <a:cubicBezTo>
                    <a:pt x="51663" y="13084"/>
                    <a:pt x="49985" y="11490"/>
                    <a:pt x="47961" y="11490"/>
                  </a:cubicBezTo>
                  <a:cubicBezTo>
                    <a:pt x="47916" y="11490"/>
                    <a:pt x="47872" y="11491"/>
                    <a:pt x="47828" y="11492"/>
                  </a:cubicBezTo>
                  <a:cubicBezTo>
                    <a:pt x="46459" y="11540"/>
                    <a:pt x="45292" y="12290"/>
                    <a:pt x="44661" y="13397"/>
                  </a:cubicBezTo>
                  <a:cubicBezTo>
                    <a:pt x="44327" y="14004"/>
                    <a:pt x="43673" y="14433"/>
                    <a:pt x="42911" y="14457"/>
                  </a:cubicBezTo>
                  <a:lnTo>
                    <a:pt x="39577" y="14564"/>
                  </a:lnTo>
                  <a:cubicBezTo>
                    <a:pt x="39554" y="14565"/>
                    <a:pt x="39532" y="14565"/>
                    <a:pt x="39510" y="14565"/>
                  </a:cubicBezTo>
                  <a:cubicBezTo>
                    <a:pt x="38397" y="14565"/>
                    <a:pt x="37480" y="13696"/>
                    <a:pt x="37434" y="12587"/>
                  </a:cubicBezTo>
                  <a:lnTo>
                    <a:pt x="37136" y="3432"/>
                  </a:lnTo>
                  <a:cubicBezTo>
                    <a:pt x="37078" y="1511"/>
                    <a:pt x="35484" y="0"/>
                    <a:pt x="3356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6" name="Google Shape;376;p19">
              <a:extLst>
                <a:ext uri="{FF2B5EF4-FFF2-40B4-BE49-F238E27FC236}">
                  <a16:creationId xmlns:a16="http://schemas.microsoft.com/office/drawing/2014/main" id="{67C489D2-02A3-1001-86AF-4CE4EC84E40D}"/>
                </a:ext>
              </a:extLst>
            </p:cNvPr>
            <p:cNvSpPr/>
            <p:nvPr/>
          </p:nvSpPr>
          <p:spPr>
            <a:xfrm>
              <a:off x="933838" y="2025120"/>
              <a:ext cx="177598" cy="256034"/>
            </a:xfrm>
            <a:custGeom>
              <a:avLst/>
              <a:gdLst/>
              <a:ahLst/>
              <a:cxnLst/>
              <a:rect l="l" t="t" r="r" b="b"/>
              <a:pathLst>
                <a:path w="4644" h="6013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7" name="Google Shape;377;p19">
              <a:extLst>
                <a:ext uri="{FF2B5EF4-FFF2-40B4-BE49-F238E27FC236}">
                  <a16:creationId xmlns:a16="http://schemas.microsoft.com/office/drawing/2014/main" id="{9D768FB2-F32D-6A09-EE2C-0C4F2743114B}"/>
                </a:ext>
              </a:extLst>
            </p:cNvPr>
            <p:cNvSpPr/>
            <p:nvPr/>
          </p:nvSpPr>
          <p:spPr>
            <a:xfrm>
              <a:off x="1071816" y="1769540"/>
              <a:ext cx="1939277" cy="923442"/>
            </a:xfrm>
            <a:custGeom>
              <a:avLst/>
              <a:gdLst/>
              <a:ahLst/>
              <a:cxnLst/>
              <a:rect l="l" t="t" r="r" b="b"/>
              <a:pathLst>
                <a:path w="50710" h="24147" extrusionOk="0">
                  <a:moveTo>
                    <a:pt x="3549" y="0"/>
                  </a:moveTo>
                  <a:cubicBezTo>
                    <a:pt x="1584" y="0"/>
                    <a:pt x="1" y="1596"/>
                    <a:pt x="1" y="3548"/>
                  </a:cubicBezTo>
                  <a:lnTo>
                    <a:pt x="1" y="20598"/>
                  </a:lnTo>
                  <a:cubicBezTo>
                    <a:pt x="1" y="22563"/>
                    <a:pt x="1584" y="24146"/>
                    <a:pt x="3549" y="24146"/>
                  </a:cubicBezTo>
                  <a:lnTo>
                    <a:pt x="33124" y="24146"/>
                  </a:lnTo>
                  <a:cubicBezTo>
                    <a:pt x="35088" y="24146"/>
                    <a:pt x="36684" y="22563"/>
                    <a:pt x="36684" y="20598"/>
                  </a:cubicBezTo>
                  <a:lnTo>
                    <a:pt x="36684" y="18669"/>
                  </a:lnTo>
                  <a:cubicBezTo>
                    <a:pt x="36684" y="17538"/>
                    <a:pt x="37600" y="16621"/>
                    <a:pt x="38720" y="16621"/>
                  </a:cubicBezTo>
                  <a:lnTo>
                    <a:pt x="42030" y="16621"/>
                  </a:lnTo>
                  <a:cubicBezTo>
                    <a:pt x="42780" y="16621"/>
                    <a:pt x="43435" y="17026"/>
                    <a:pt x="43792" y="17633"/>
                  </a:cubicBezTo>
                  <a:cubicBezTo>
                    <a:pt x="44447" y="18705"/>
                    <a:pt x="45625" y="19419"/>
                    <a:pt x="46983" y="19419"/>
                  </a:cubicBezTo>
                  <a:cubicBezTo>
                    <a:pt x="49042" y="19419"/>
                    <a:pt x="50709" y="17753"/>
                    <a:pt x="50709" y="15693"/>
                  </a:cubicBezTo>
                  <a:cubicBezTo>
                    <a:pt x="50709" y="13633"/>
                    <a:pt x="49042" y="11954"/>
                    <a:pt x="46983" y="11954"/>
                  </a:cubicBezTo>
                  <a:cubicBezTo>
                    <a:pt x="45625" y="11954"/>
                    <a:pt x="44447" y="12680"/>
                    <a:pt x="43792" y="13752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16"/>
                  </a:cubicBezTo>
                  <a:lnTo>
                    <a:pt x="36684" y="3548"/>
                  </a:lnTo>
                  <a:cubicBezTo>
                    <a:pt x="36684" y="1596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8" name="Google Shape;378;p19">
              <a:extLst>
                <a:ext uri="{FF2B5EF4-FFF2-40B4-BE49-F238E27FC236}">
                  <a16:creationId xmlns:a16="http://schemas.microsoft.com/office/drawing/2014/main" id="{CBF8A3D4-60B0-2762-7FC9-96766F06CE8B}"/>
                </a:ext>
              </a:extLst>
            </p:cNvPr>
            <p:cNvSpPr/>
            <p:nvPr/>
          </p:nvSpPr>
          <p:spPr>
            <a:xfrm>
              <a:off x="2752419" y="2253534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9" name="Google Shape;379;p19">
              <a:extLst>
                <a:ext uri="{FF2B5EF4-FFF2-40B4-BE49-F238E27FC236}">
                  <a16:creationId xmlns:a16="http://schemas.microsoft.com/office/drawing/2014/main" id="{ED3832C1-FF82-B007-DD8B-BCB301E2D728}"/>
                </a:ext>
              </a:extLst>
            </p:cNvPr>
            <p:cNvSpPr/>
            <p:nvPr/>
          </p:nvSpPr>
          <p:spPr>
            <a:xfrm>
              <a:off x="935214" y="1799534"/>
              <a:ext cx="1606414" cy="368572"/>
            </a:xfrm>
            <a:custGeom>
              <a:avLst/>
              <a:gdLst/>
              <a:ahLst/>
              <a:cxnLst/>
              <a:rect l="l" t="t" r="r" b="b"/>
              <a:pathLst>
                <a:path w="42006" h="8656" extrusionOk="0">
                  <a:moveTo>
                    <a:pt x="3001" y="0"/>
                  </a:moveTo>
                  <a:cubicBezTo>
                    <a:pt x="2168" y="0"/>
                    <a:pt x="1417" y="333"/>
                    <a:pt x="882" y="881"/>
                  </a:cubicBezTo>
                  <a:cubicBezTo>
                    <a:pt x="334" y="1429"/>
                    <a:pt x="1" y="2179"/>
                    <a:pt x="1" y="3012"/>
                  </a:cubicBezTo>
                  <a:lnTo>
                    <a:pt x="1" y="8311"/>
                  </a:lnTo>
                  <a:lnTo>
                    <a:pt x="24" y="8656"/>
                  </a:lnTo>
                  <a:cubicBezTo>
                    <a:pt x="108" y="7977"/>
                    <a:pt x="417" y="7358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12"/>
                  </a:cubicBezTo>
                  <a:cubicBezTo>
                    <a:pt x="42006" y="2881"/>
                    <a:pt x="42006" y="2774"/>
                    <a:pt x="41982" y="2655"/>
                  </a:cubicBezTo>
                  <a:cubicBezTo>
                    <a:pt x="41815" y="1155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380;p19">
              <a:extLst>
                <a:ext uri="{FF2B5EF4-FFF2-40B4-BE49-F238E27FC236}">
                  <a16:creationId xmlns:a16="http://schemas.microsoft.com/office/drawing/2014/main" id="{ACAF32B3-5C8F-5A7C-0583-16353C7BA9A8}"/>
                </a:ext>
              </a:extLst>
            </p:cNvPr>
            <p:cNvSpPr/>
            <p:nvPr/>
          </p:nvSpPr>
          <p:spPr>
            <a:xfrm>
              <a:off x="935214" y="1769089"/>
              <a:ext cx="1606414" cy="384327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9026"/>
                  </a:lnTo>
                  <a:cubicBezTo>
                    <a:pt x="1" y="8192"/>
                    <a:pt x="334" y="7442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381;p19">
              <a:extLst>
                <a:ext uri="{FF2B5EF4-FFF2-40B4-BE49-F238E27FC236}">
                  <a16:creationId xmlns:a16="http://schemas.microsoft.com/office/drawing/2014/main" id="{1318E4BE-E0B9-33EC-934A-18639A1F15E9}"/>
                </a:ext>
              </a:extLst>
            </p:cNvPr>
            <p:cNvSpPr txBox="1"/>
            <p:nvPr/>
          </p:nvSpPr>
          <p:spPr>
            <a:xfrm>
              <a:off x="1081172" y="209766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Encode strings and batch them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Google Shape;382;p19">
              <a:extLst>
                <a:ext uri="{FF2B5EF4-FFF2-40B4-BE49-F238E27FC236}">
                  <a16:creationId xmlns:a16="http://schemas.microsoft.com/office/drawing/2014/main" id="{66A8AB38-C7E4-96B6-0049-864E509A39E8}"/>
                </a:ext>
              </a:extLst>
            </p:cNvPr>
            <p:cNvSpPr txBox="1"/>
            <p:nvPr/>
          </p:nvSpPr>
          <p:spPr>
            <a:xfrm>
              <a:off x="1071825" y="1769313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Encode + Batch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53" name="Google Shape;383;p19">
            <a:extLst>
              <a:ext uri="{FF2B5EF4-FFF2-40B4-BE49-F238E27FC236}">
                <a16:creationId xmlns:a16="http://schemas.microsoft.com/office/drawing/2014/main" id="{084199AD-7317-DD9D-F00C-7BE4CF52FE40}"/>
              </a:ext>
            </a:extLst>
          </p:cNvPr>
          <p:cNvGrpSpPr/>
          <p:nvPr/>
        </p:nvGrpSpPr>
        <p:grpSpPr>
          <a:xfrm>
            <a:off x="4584563" y="3009472"/>
            <a:ext cx="2079971" cy="979046"/>
            <a:chOff x="933838" y="3005721"/>
            <a:chExt cx="2079971" cy="979046"/>
          </a:xfrm>
        </p:grpSpPr>
        <p:sp>
          <p:nvSpPr>
            <p:cNvPr id="54" name="Google Shape;384;p19">
              <a:extLst>
                <a:ext uri="{FF2B5EF4-FFF2-40B4-BE49-F238E27FC236}">
                  <a16:creationId xmlns:a16="http://schemas.microsoft.com/office/drawing/2014/main" id="{16DBC7E0-A3F4-DA44-3C59-2E2EA36E3AFB}"/>
                </a:ext>
              </a:extLst>
            </p:cNvPr>
            <p:cNvSpPr/>
            <p:nvPr/>
          </p:nvSpPr>
          <p:spPr>
            <a:xfrm>
              <a:off x="1033115" y="3023886"/>
              <a:ext cx="1980694" cy="960881"/>
            </a:xfrm>
            <a:custGeom>
              <a:avLst/>
              <a:gdLst/>
              <a:ahLst/>
              <a:cxnLst/>
              <a:rect l="l" t="t" r="r" b="b"/>
              <a:pathLst>
                <a:path w="51793" h="25126" extrusionOk="0">
                  <a:moveTo>
                    <a:pt x="33544" y="0"/>
                  </a:moveTo>
                  <a:cubicBezTo>
                    <a:pt x="33507" y="0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7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5"/>
                    <a:pt x="4322" y="25124"/>
                  </a:cubicBezTo>
                  <a:lnTo>
                    <a:pt x="34231" y="24136"/>
                  </a:lnTo>
                  <a:cubicBezTo>
                    <a:pt x="36207" y="24076"/>
                    <a:pt x="37767" y="22433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8"/>
                    <a:pt x="39636" y="16433"/>
                  </a:cubicBezTo>
                  <a:lnTo>
                    <a:pt x="42982" y="16325"/>
                  </a:lnTo>
                  <a:cubicBezTo>
                    <a:pt x="43004" y="16325"/>
                    <a:pt x="43026" y="16324"/>
                    <a:pt x="43049" y="16324"/>
                  </a:cubicBezTo>
                  <a:cubicBezTo>
                    <a:pt x="43772" y="16324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8"/>
                    <a:pt x="48078" y="18957"/>
                  </a:cubicBezTo>
                  <a:cubicBezTo>
                    <a:pt x="50162" y="18885"/>
                    <a:pt x="51793" y="17159"/>
                    <a:pt x="51721" y="15099"/>
                  </a:cubicBezTo>
                  <a:cubicBezTo>
                    <a:pt x="51663" y="13076"/>
                    <a:pt x="49974" y="11490"/>
                    <a:pt x="47940" y="11490"/>
                  </a:cubicBezTo>
                  <a:cubicBezTo>
                    <a:pt x="47903" y="11490"/>
                    <a:pt x="47865" y="11490"/>
                    <a:pt x="47828" y="11491"/>
                  </a:cubicBezTo>
                  <a:cubicBezTo>
                    <a:pt x="46459" y="11539"/>
                    <a:pt x="45292" y="12301"/>
                    <a:pt x="44661" y="13396"/>
                  </a:cubicBezTo>
                  <a:cubicBezTo>
                    <a:pt x="44327" y="14004"/>
                    <a:pt x="43673" y="14432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6"/>
                    <a:pt x="39511" y="14576"/>
                  </a:cubicBezTo>
                  <a:cubicBezTo>
                    <a:pt x="38397" y="14576"/>
                    <a:pt x="37480" y="13696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0"/>
                    <a:pt x="33544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5" name="Google Shape;385;p19">
              <a:extLst>
                <a:ext uri="{FF2B5EF4-FFF2-40B4-BE49-F238E27FC236}">
                  <a16:creationId xmlns:a16="http://schemas.microsoft.com/office/drawing/2014/main" id="{7239C8BB-1E2E-F5DD-E42A-A3C2B808DB81}"/>
                </a:ext>
              </a:extLst>
            </p:cNvPr>
            <p:cNvSpPr/>
            <p:nvPr/>
          </p:nvSpPr>
          <p:spPr>
            <a:xfrm>
              <a:off x="933838" y="3261739"/>
              <a:ext cx="177598" cy="256061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7"/>
                    <a:pt x="1" y="2179"/>
                    <a:pt x="1" y="3001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6" name="Google Shape;386;p19">
              <a:extLst>
                <a:ext uri="{FF2B5EF4-FFF2-40B4-BE49-F238E27FC236}">
                  <a16:creationId xmlns:a16="http://schemas.microsoft.com/office/drawing/2014/main" id="{A0DB2FD9-4771-C3C3-C7CE-8291A2AA7B56}"/>
                </a:ext>
              </a:extLst>
            </p:cNvPr>
            <p:cNvSpPr/>
            <p:nvPr/>
          </p:nvSpPr>
          <p:spPr>
            <a:xfrm>
              <a:off x="1071816" y="3005721"/>
              <a:ext cx="1939277" cy="923901"/>
            </a:xfrm>
            <a:custGeom>
              <a:avLst/>
              <a:gdLst/>
              <a:ahLst/>
              <a:cxnLst/>
              <a:rect l="l" t="t" r="r" b="b"/>
              <a:pathLst>
                <a:path w="50710" h="24159" extrusionOk="0">
                  <a:moveTo>
                    <a:pt x="3549" y="1"/>
                  </a:moveTo>
                  <a:cubicBezTo>
                    <a:pt x="1584" y="1"/>
                    <a:pt x="1" y="1596"/>
                    <a:pt x="1" y="3561"/>
                  </a:cubicBezTo>
                  <a:lnTo>
                    <a:pt x="1" y="20610"/>
                  </a:lnTo>
                  <a:cubicBezTo>
                    <a:pt x="1" y="22563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3"/>
                    <a:pt x="36684" y="20610"/>
                  </a:cubicBezTo>
                  <a:lnTo>
                    <a:pt x="36684" y="18670"/>
                  </a:lnTo>
                  <a:cubicBezTo>
                    <a:pt x="36684" y="17550"/>
                    <a:pt x="37600" y="16634"/>
                    <a:pt x="38720" y="16634"/>
                  </a:cubicBezTo>
                  <a:lnTo>
                    <a:pt x="42030" y="16634"/>
                  </a:lnTo>
                  <a:cubicBezTo>
                    <a:pt x="42780" y="16634"/>
                    <a:pt x="43435" y="17039"/>
                    <a:pt x="43792" y="17634"/>
                  </a:cubicBezTo>
                  <a:cubicBezTo>
                    <a:pt x="44447" y="18705"/>
                    <a:pt x="45625" y="19432"/>
                    <a:pt x="46983" y="19432"/>
                  </a:cubicBezTo>
                  <a:cubicBezTo>
                    <a:pt x="49042" y="19432"/>
                    <a:pt x="50709" y="17765"/>
                    <a:pt x="50709" y="15693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3"/>
                    <a:pt x="43792" y="13764"/>
                  </a:cubicBezTo>
                  <a:cubicBezTo>
                    <a:pt x="43435" y="14360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8"/>
                    <a:pt x="36684" y="12728"/>
                  </a:cubicBezTo>
                  <a:lnTo>
                    <a:pt x="36684" y="3561"/>
                  </a:lnTo>
                  <a:cubicBezTo>
                    <a:pt x="36684" y="1596"/>
                    <a:pt x="35088" y="1"/>
                    <a:pt x="33124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387;p19">
              <a:extLst>
                <a:ext uri="{FF2B5EF4-FFF2-40B4-BE49-F238E27FC236}">
                  <a16:creationId xmlns:a16="http://schemas.microsoft.com/office/drawing/2014/main" id="{A9D8ABE3-F548-E553-F7B2-E70F082E0E49}"/>
                </a:ext>
              </a:extLst>
            </p:cNvPr>
            <p:cNvSpPr/>
            <p:nvPr/>
          </p:nvSpPr>
          <p:spPr>
            <a:xfrm>
              <a:off x="2752419" y="3489753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69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69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8" name="Google Shape;388;p19">
              <a:extLst>
                <a:ext uri="{FF2B5EF4-FFF2-40B4-BE49-F238E27FC236}">
                  <a16:creationId xmlns:a16="http://schemas.microsoft.com/office/drawing/2014/main" id="{B705722C-D58B-8B4C-A239-94A6CA47A99A}"/>
                </a:ext>
              </a:extLst>
            </p:cNvPr>
            <p:cNvSpPr/>
            <p:nvPr/>
          </p:nvSpPr>
          <p:spPr>
            <a:xfrm>
              <a:off x="935214" y="3035660"/>
              <a:ext cx="1606414" cy="369104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0"/>
                    <a:pt x="882" y="6894"/>
                  </a:cubicBezTo>
                  <a:cubicBezTo>
                    <a:pt x="1417" y="6358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5"/>
                  </a:cubicBezTo>
                  <a:cubicBezTo>
                    <a:pt x="41815" y="1167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9" name="Google Shape;389;p19">
              <a:extLst>
                <a:ext uri="{FF2B5EF4-FFF2-40B4-BE49-F238E27FC236}">
                  <a16:creationId xmlns:a16="http://schemas.microsoft.com/office/drawing/2014/main" id="{C03FCBF4-C92F-D037-140C-8C80B44B94E9}"/>
                </a:ext>
              </a:extLst>
            </p:cNvPr>
            <p:cNvSpPr/>
            <p:nvPr/>
          </p:nvSpPr>
          <p:spPr>
            <a:xfrm>
              <a:off x="935214" y="3005729"/>
              <a:ext cx="1606414" cy="383794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68"/>
                    <a:pt x="1" y="3001"/>
                  </a:cubicBezTo>
                  <a:lnTo>
                    <a:pt x="1" y="9014"/>
                  </a:lnTo>
                  <a:cubicBezTo>
                    <a:pt x="1" y="8192"/>
                    <a:pt x="334" y="7430"/>
                    <a:pt x="882" y="6895"/>
                  </a:cubicBezTo>
                  <a:cubicBezTo>
                    <a:pt x="1417" y="6347"/>
                    <a:pt x="2168" y="6014"/>
                    <a:pt x="3001" y="6014"/>
                  </a:cubicBezTo>
                  <a:lnTo>
                    <a:pt x="39006" y="6014"/>
                  </a:lnTo>
                  <a:cubicBezTo>
                    <a:pt x="40660" y="6014"/>
                    <a:pt x="42006" y="4668"/>
                    <a:pt x="42006" y="3001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60" name="Google Shape;390;p19">
              <a:extLst>
                <a:ext uri="{FF2B5EF4-FFF2-40B4-BE49-F238E27FC236}">
                  <a16:creationId xmlns:a16="http://schemas.microsoft.com/office/drawing/2014/main" id="{EC0BD778-21B1-0382-06E7-2622FA4F4F7D}"/>
                </a:ext>
              </a:extLst>
            </p:cNvPr>
            <p:cNvSpPr txBox="1"/>
            <p:nvPr/>
          </p:nvSpPr>
          <p:spPr>
            <a:xfrm>
              <a:off x="1081172" y="333811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Generate output and decode it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pic>
        <p:nvPicPr>
          <p:cNvPr id="4" name="Graphic 3" descr="Checkmark">
            <a:extLst>
              <a:ext uri="{FF2B5EF4-FFF2-40B4-BE49-F238E27FC236}">
                <a16:creationId xmlns:a16="http://schemas.microsoft.com/office/drawing/2014/main" id="{20F3B2EB-D53B-89A2-0521-24AD372A5D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7303" y="1653160"/>
            <a:ext cx="213785" cy="213785"/>
          </a:xfrm>
          <a:prstGeom prst="rect">
            <a:avLst/>
          </a:prstGeom>
        </p:spPr>
      </p:pic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3CEB79B6-72C3-4B27-C62D-F5C961C756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5534" y="1040560"/>
            <a:ext cx="213785" cy="213785"/>
          </a:xfrm>
          <a:prstGeom prst="rect">
            <a:avLst/>
          </a:prstGeom>
        </p:spPr>
      </p:pic>
      <p:sp>
        <p:nvSpPr>
          <p:cNvPr id="63" name="Google Shape;391;p19">
            <a:extLst>
              <a:ext uri="{FF2B5EF4-FFF2-40B4-BE49-F238E27FC236}">
                <a16:creationId xmlns:a16="http://schemas.microsoft.com/office/drawing/2014/main" id="{71F40829-97C8-4E1B-A15B-D9C07034FAD2}"/>
              </a:ext>
            </a:extLst>
          </p:cNvPr>
          <p:cNvSpPr txBox="1"/>
          <p:nvPr/>
        </p:nvSpPr>
        <p:spPr>
          <a:xfrm>
            <a:off x="4520839" y="3012821"/>
            <a:ext cx="174725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Generate + Decode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</p:spTree>
    <p:extLst>
      <p:ext uri="{BB962C8B-B14F-4D97-AF65-F5344CB8AC3E}">
        <p14:creationId xmlns:p14="http://schemas.microsoft.com/office/powerpoint/2010/main" val="2325496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09239" y="1464132"/>
            <a:ext cx="3397718" cy="3644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/>
                <a:cs typeface="Arial"/>
              </a:rPr>
              <a:t>Train Model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800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</a:p>
          <a:p>
            <a:r>
              <a:rPr lang="en-US" sz="1200" dirty="0">
                <a:latin typeface="Arial"/>
                <a:cs typeface="Arial"/>
              </a:rPr>
              <a:t>Successes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Utilizing prior knowledge for training neural networks (BERT)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Trained with our Python text data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Took 1.5 hours (5 epochs)</a:t>
            </a:r>
          </a:p>
          <a:p>
            <a:pPr>
              <a:buSzPct val="150000"/>
            </a:pPr>
            <a:endParaRPr lang="en-US" sz="600" b="0" dirty="0">
              <a:latin typeface="Arial"/>
              <a:cs typeface="Arial"/>
            </a:endParaRPr>
          </a:p>
          <a:p>
            <a:pPr>
              <a:buSzPct val="150000"/>
            </a:pPr>
            <a:r>
              <a:rPr lang="en-US" sz="1200" dirty="0">
                <a:latin typeface="Arial"/>
                <a:cs typeface="Arial"/>
              </a:rPr>
              <a:t>Improvement opportunities</a:t>
            </a:r>
          </a:p>
          <a:p>
            <a:r>
              <a:rPr lang="en-US" sz="600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Reduce the training time 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Add masks to the encoding, as we only used ids for now </a:t>
            </a:r>
            <a:endParaRPr lang="en-US" dirty="0"/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Do data augmentation to have more than 5000 training data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4</a:t>
            </a:r>
          </a:p>
        </p:txBody>
      </p:sp>
      <p:sp>
        <p:nvSpPr>
          <p:cNvPr id="6" name="Google Shape;336;p19">
            <a:extLst>
              <a:ext uri="{FF2B5EF4-FFF2-40B4-BE49-F238E27FC236}">
                <a16:creationId xmlns:a16="http://schemas.microsoft.com/office/drawing/2014/main" id="{3A46E835-1E6D-22F7-161E-6E2B33500B1E}"/>
              </a:ext>
            </a:extLst>
          </p:cNvPr>
          <p:cNvSpPr/>
          <p:nvPr/>
        </p:nvSpPr>
        <p:spPr>
          <a:xfrm>
            <a:off x="6495888" y="-30149"/>
            <a:ext cx="46774" cy="5203797"/>
          </a:xfrm>
          <a:custGeom>
            <a:avLst/>
            <a:gdLst/>
            <a:ahLst/>
            <a:cxnLst/>
            <a:rect l="l" t="t" r="r" b="b"/>
            <a:pathLst>
              <a:path w="1513" h="166415" extrusionOk="0">
                <a:moveTo>
                  <a:pt x="751" y="1"/>
                </a:moveTo>
                <a:cubicBezTo>
                  <a:pt x="346" y="1"/>
                  <a:pt x="1" y="334"/>
                  <a:pt x="1" y="751"/>
                </a:cubicBezTo>
                <a:lnTo>
                  <a:pt x="1" y="165664"/>
                </a:lnTo>
                <a:cubicBezTo>
                  <a:pt x="1" y="166081"/>
                  <a:pt x="334" y="166414"/>
                  <a:pt x="751" y="166414"/>
                </a:cubicBezTo>
                <a:cubicBezTo>
                  <a:pt x="1167" y="166414"/>
                  <a:pt x="1513" y="166081"/>
                  <a:pt x="1513" y="165664"/>
                </a:cubicBezTo>
                <a:lnTo>
                  <a:pt x="1513" y="751"/>
                </a:lnTo>
                <a:cubicBezTo>
                  <a:pt x="1513" y="334"/>
                  <a:pt x="1167" y="1"/>
                  <a:pt x="75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" name="Google Shape;338;p19">
            <a:extLst>
              <a:ext uri="{FF2B5EF4-FFF2-40B4-BE49-F238E27FC236}">
                <a16:creationId xmlns:a16="http://schemas.microsoft.com/office/drawing/2014/main" id="{B074DB79-C097-53BC-5210-BB95DA6E04BF}"/>
              </a:ext>
            </a:extLst>
          </p:cNvPr>
          <p:cNvGrpSpPr/>
          <p:nvPr/>
        </p:nvGrpSpPr>
        <p:grpSpPr>
          <a:xfrm>
            <a:off x="6374003" y="3627360"/>
            <a:ext cx="2078594" cy="979496"/>
            <a:chOff x="2723278" y="3623609"/>
            <a:chExt cx="2078594" cy="979496"/>
          </a:xfrm>
        </p:grpSpPr>
        <p:sp>
          <p:nvSpPr>
            <p:cNvPr id="9" name="Google Shape;339;p19">
              <a:extLst>
                <a:ext uri="{FF2B5EF4-FFF2-40B4-BE49-F238E27FC236}">
                  <a16:creationId xmlns:a16="http://schemas.microsoft.com/office/drawing/2014/main" id="{8925CA10-1110-6665-B945-65EB780010E2}"/>
                </a:ext>
              </a:extLst>
            </p:cNvPr>
            <p:cNvSpPr/>
            <p:nvPr/>
          </p:nvSpPr>
          <p:spPr>
            <a:xfrm>
              <a:off x="2723278" y="3642186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0"/>
                  </a:moveTo>
                  <a:cubicBezTo>
                    <a:pt x="16310" y="0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6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4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50" y="18958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89"/>
                    <a:pt x="8020" y="16325"/>
                    <a:pt x="8743" y="16325"/>
                  </a:cubicBezTo>
                  <a:cubicBezTo>
                    <a:pt x="8765" y="16325"/>
                    <a:pt x="8788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69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6"/>
                    <a:pt x="47570" y="25126"/>
                  </a:cubicBezTo>
                  <a:cubicBezTo>
                    <a:pt x="49509" y="25126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3"/>
                    <a:pt x="50245" y="1050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0"/>
                    <a:pt x="18228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340;p19">
              <a:extLst>
                <a:ext uri="{FF2B5EF4-FFF2-40B4-BE49-F238E27FC236}">
                  <a16:creationId xmlns:a16="http://schemas.microsoft.com/office/drawing/2014/main" id="{0906E6F3-139D-7609-195B-DA03E6A6FD27}"/>
                </a:ext>
              </a:extLst>
            </p:cNvPr>
            <p:cNvSpPr/>
            <p:nvPr/>
          </p:nvSpPr>
          <p:spPr>
            <a:xfrm>
              <a:off x="4624272" y="3879385"/>
              <a:ext cx="177598" cy="256288"/>
            </a:xfrm>
            <a:custGeom>
              <a:avLst/>
              <a:gdLst/>
              <a:ahLst/>
              <a:cxnLst/>
              <a:rect l="l" t="t" r="r" b="b"/>
              <a:pathLst>
                <a:path w="4644" h="6025" extrusionOk="0">
                  <a:moveTo>
                    <a:pt x="0" y="0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3"/>
                  </a:cubicBezTo>
                  <a:cubicBezTo>
                    <a:pt x="3215" y="346"/>
                    <a:pt x="2465" y="0"/>
                    <a:pt x="1643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1" name="Google Shape;341;p19">
              <a:extLst>
                <a:ext uri="{FF2B5EF4-FFF2-40B4-BE49-F238E27FC236}">
                  <a16:creationId xmlns:a16="http://schemas.microsoft.com/office/drawing/2014/main" id="{84C4A120-70DA-A173-FED8-A5998721CA38}"/>
                </a:ext>
              </a:extLst>
            </p:cNvPr>
            <p:cNvSpPr/>
            <p:nvPr/>
          </p:nvSpPr>
          <p:spPr>
            <a:xfrm>
              <a:off x="2725573" y="3624059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0"/>
                  </a:moveTo>
                  <a:cubicBezTo>
                    <a:pt x="15633" y="0"/>
                    <a:pt x="14037" y="1596"/>
                    <a:pt x="14037" y="3548"/>
                  </a:cubicBezTo>
                  <a:lnTo>
                    <a:pt x="14037" y="12716"/>
                  </a:lnTo>
                  <a:cubicBezTo>
                    <a:pt x="14037" y="13847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59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1"/>
                    <a:pt x="3739" y="19431"/>
                  </a:cubicBezTo>
                  <a:cubicBezTo>
                    <a:pt x="5084" y="19431"/>
                    <a:pt x="6275" y="18705"/>
                    <a:pt x="6929" y="17633"/>
                  </a:cubicBezTo>
                  <a:cubicBezTo>
                    <a:pt x="7287" y="17026"/>
                    <a:pt x="7941" y="16633"/>
                    <a:pt x="8692" y="16633"/>
                  </a:cubicBezTo>
                  <a:lnTo>
                    <a:pt x="11990" y="16633"/>
                  </a:lnTo>
                  <a:cubicBezTo>
                    <a:pt x="13121" y="16633"/>
                    <a:pt x="14037" y="17538"/>
                    <a:pt x="14037" y="18669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48"/>
                  </a:lnTo>
                  <a:cubicBezTo>
                    <a:pt x="50721" y="1596"/>
                    <a:pt x="49137" y="0"/>
                    <a:pt x="47173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2" name="Google Shape;342;p19">
              <a:extLst>
                <a:ext uri="{FF2B5EF4-FFF2-40B4-BE49-F238E27FC236}">
                  <a16:creationId xmlns:a16="http://schemas.microsoft.com/office/drawing/2014/main" id="{B834AEBE-67E0-14A7-CC93-C735E7163B8D}"/>
                </a:ext>
              </a:extLst>
            </p:cNvPr>
            <p:cNvSpPr/>
            <p:nvPr/>
          </p:nvSpPr>
          <p:spPr>
            <a:xfrm>
              <a:off x="2752419" y="410805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3" name="Google Shape;343;p19">
              <a:extLst>
                <a:ext uri="{FF2B5EF4-FFF2-40B4-BE49-F238E27FC236}">
                  <a16:creationId xmlns:a16="http://schemas.microsoft.com/office/drawing/2014/main" id="{86409286-4934-7671-5489-252DF7A4ED49}"/>
                </a:ext>
              </a:extLst>
            </p:cNvPr>
            <p:cNvSpPr/>
            <p:nvPr/>
          </p:nvSpPr>
          <p:spPr>
            <a:xfrm>
              <a:off x="3195458" y="3654023"/>
              <a:ext cx="1606414" cy="368715"/>
            </a:xfrm>
            <a:custGeom>
              <a:avLst/>
              <a:gdLst/>
              <a:ahLst/>
              <a:cxnLst/>
              <a:rect l="l" t="t" r="r" b="b"/>
              <a:pathLst>
                <a:path w="42006" h="8668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4"/>
                    <a:pt x="0" y="2893"/>
                    <a:pt x="0" y="3012"/>
                  </a:cubicBezTo>
                  <a:cubicBezTo>
                    <a:pt x="0" y="4667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7"/>
                    <a:pt x="41982" y="8668"/>
                  </a:cubicBezTo>
                  <a:lnTo>
                    <a:pt x="42005" y="8311"/>
                  </a:lnTo>
                  <a:lnTo>
                    <a:pt x="42005" y="3012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5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344;p19">
              <a:extLst>
                <a:ext uri="{FF2B5EF4-FFF2-40B4-BE49-F238E27FC236}">
                  <a16:creationId xmlns:a16="http://schemas.microsoft.com/office/drawing/2014/main" id="{92DFED7A-21BD-E3D5-1B8A-CDD2DECD66BC}"/>
                </a:ext>
              </a:extLst>
            </p:cNvPr>
            <p:cNvSpPr/>
            <p:nvPr/>
          </p:nvSpPr>
          <p:spPr>
            <a:xfrm>
              <a:off x="3195458" y="3623609"/>
              <a:ext cx="1606414" cy="383943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59"/>
                    <a:pt x="41124" y="6906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29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5" name="Google Shape;345;p19">
              <a:extLst>
                <a:ext uri="{FF2B5EF4-FFF2-40B4-BE49-F238E27FC236}">
                  <a16:creationId xmlns:a16="http://schemas.microsoft.com/office/drawing/2014/main" id="{6CD84315-A122-FEF7-7737-0C5BC7B7AE70}"/>
                </a:ext>
              </a:extLst>
            </p:cNvPr>
            <p:cNvSpPr txBox="1"/>
            <p:nvPr/>
          </p:nvSpPr>
          <p:spPr>
            <a:xfrm>
              <a:off x="3265722" y="3955988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ke sure output solves prompts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6" name="Google Shape;346;p19">
              <a:extLst>
                <a:ext uri="{FF2B5EF4-FFF2-40B4-BE49-F238E27FC236}">
                  <a16:creationId xmlns:a16="http://schemas.microsoft.com/office/drawing/2014/main" id="{61BEBF24-5F49-AB7A-15D1-508CEE6C9DD8}"/>
                </a:ext>
              </a:extLst>
            </p:cNvPr>
            <p:cNvSpPr txBox="1"/>
            <p:nvPr/>
          </p:nvSpPr>
          <p:spPr>
            <a:xfrm>
              <a:off x="3195450" y="36238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est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17" name="Google Shape;347;p19">
            <a:extLst>
              <a:ext uri="{FF2B5EF4-FFF2-40B4-BE49-F238E27FC236}">
                <a16:creationId xmlns:a16="http://schemas.microsoft.com/office/drawing/2014/main" id="{2C78506E-A503-BD61-6D94-1C8F5486D44E}"/>
              </a:ext>
            </a:extLst>
          </p:cNvPr>
          <p:cNvGrpSpPr/>
          <p:nvPr/>
        </p:nvGrpSpPr>
        <p:grpSpPr>
          <a:xfrm>
            <a:off x="6374003" y="2391176"/>
            <a:ext cx="2078594" cy="979041"/>
            <a:chOff x="2723278" y="2387425"/>
            <a:chExt cx="2078594" cy="979041"/>
          </a:xfrm>
        </p:grpSpPr>
        <p:sp>
          <p:nvSpPr>
            <p:cNvPr id="18" name="Google Shape;348;p19">
              <a:extLst>
                <a:ext uri="{FF2B5EF4-FFF2-40B4-BE49-F238E27FC236}">
                  <a16:creationId xmlns:a16="http://schemas.microsoft.com/office/drawing/2014/main" id="{18E69FBC-3E13-2EE9-8FB7-B3FCF4AA8B04}"/>
                </a:ext>
              </a:extLst>
            </p:cNvPr>
            <p:cNvSpPr/>
            <p:nvPr/>
          </p:nvSpPr>
          <p:spPr>
            <a:xfrm>
              <a:off x="2723278" y="240554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49" y="1"/>
                  </a:moveTo>
                  <a:cubicBezTo>
                    <a:pt x="16321" y="1"/>
                    <a:pt x="14715" y="1515"/>
                    <a:pt x="14657" y="3431"/>
                  </a:cubicBezTo>
                  <a:lnTo>
                    <a:pt x="14348" y="12599"/>
                  </a:lnTo>
                  <a:cubicBezTo>
                    <a:pt x="14312" y="13708"/>
                    <a:pt x="13396" y="14577"/>
                    <a:pt x="12283" y="14577"/>
                  </a:cubicBezTo>
                  <a:cubicBezTo>
                    <a:pt x="12261" y="14577"/>
                    <a:pt x="12239" y="14576"/>
                    <a:pt x="12216" y="14576"/>
                  </a:cubicBezTo>
                  <a:lnTo>
                    <a:pt x="8871" y="14468"/>
                  </a:lnTo>
                  <a:cubicBezTo>
                    <a:pt x="8121" y="14433"/>
                    <a:pt x="7466" y="14016"/>
                    <a:pt x="7132" y="13397"/>
                  </a:cubicBezTo>
                  <a:cubicBezTo>
                    <a:pt x="6501" y="12301"/>
                    <a:pt x="5334" y="11539"/>
                    <a:pt x="3965" y="11504"/>
                  </a:cubicBezTo>
                  <a:cubicBezTo>
                    <a:pt x="3921" y="11502"/>
                    <a:pt x="3876" y="11501"/>
                    <a:pt x="3832" y="11501"/>
                  </a:cubicBezTo>
                  <a:cubicBezTo>
                    <a:pt x="1807" y="11501"/>
                    <a:pt x="130" y="13084"/>
                    <a:pt x="60" y="15099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60" y="18959"/>
                    <a:pt x="3806" y="18959"/>
                    <a:pt x="3850" y="18959"/>
                  </a:cubicBezTo>
                  <a:cubicBezTo>
                    <a:pt x="5164" y="18959"/>
                    <a:pt x="6322" y="18291"/>
                    <a:pt x="7001" y="17266"/>
                  </a:cubicBezTo>
                  <a:cubicBezTo>
                    <a:pt x="7371" y="16700"/>
                    <a:pt x="8021" y="16325"/>
                    <a:pt x="8745" y="16325"/>
                  </a:cubicBezTo>
                  <a:cubicBezTo>
                    <a:pt x="8767" y="16325"/>
                    <a:pt x="8789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21"/>
                    <a:pt x="14157" y="18540"/>
                  </a:cubicBezTo>
                  <a:lnTo>
                    <a:pt x="14097" y="20481"/>
                  </a:lnTo>
                  <a:cubicBezTo>
                    <a:pt x="14026" y="22434"/>
                    <a:pt x="15586" y="24077"/>
                    <a:pt x="17562" y="24148"/>
                  </a:cubicBezTo>
                  <a:lnTo>
                    <a:pt x="47459" y="25124"/>
                  </a:lnTo>
                  <a:cubicBezTo>
                    <a:pt x="47503" y="25126"/>
                    <a:pt x="47548" y="25127"/>
                    <a:pt x="47592" y="25127"/>
                  </a:cubicBezTo>
                  <a:cubicBezTo>
                    <a:pt x="49520" y="25127"/>
                    <a:pt x="51104" y="23616"/>
                    <a:pt x="51174" y="21695"/>
                  </a:cubicBezTo>
                  <a:lnTo>
                    <a:pt x="51733" y="4658"/>
                  </a:lnTo>
                  <a:cubicBezTo>
                    <a:pt x="51793" y="2693"/>
                    <a:pt x="50245" y="1050"/>
                    <a:pt x="48257" y="991"/>
                  </a:cubicBezTo>
                  <a:lnTo>
                    <a:pt x="18360" y="2"/>
                  </a:lnTo>
                  <a:cubicBezTo>
                    <a:pt x="18323" y="1"/>
                    <a:pt x="18286" y="1"/>
                    <a:pt x="18249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349;p19">
              <a:extLst>
                <a:ext uri="{FF2B5EF4-FFF2-40B4-BE49-F238E27FC236}">
                  <a16:creationId xmlns:a16="http://schemas.microsoft.com/office/drawing/2014/main" id="{010DEEC5-A79E-ABDD-11EB-A0B695831937}"/>
                </a:ext>
              </a:extLst>
            </p:cNvPr>
            <p:cNvSpPr/>
            <p:nvPr/>
          </p:nvSpPr>
          <p:spPr>
            <a:xfrm>
              <a:off x="4624272" y="264341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0" y="1"/>
                  </a:moveTo>
                  <a:lnTo>
                    <a:pt x="0" y="6014"/>
                  </a:lnTo>
                  <a:lnTo>
                    <a:pt x="1643" y="6014"/>
                  </a:lnTo>
                  <a:cubicBezTo>
                    <a:pt x="3298" y="6014"/>
                    <a:pt x="4643" y="4668"/>
                    <a:pt x="4643" y="3001"/>
                  </a:cubicBezTo>
                  <a:cubicBezTo>
                    <a:pt x="4643" y="2180"/>
                    <a:pt x="4310" y="1430"/>
                    <a:pt x="3762" y="882"/>
                  </a:cubicBezTo>
                  <a:cubicBezTo>
                    <a:pt x="3215" y="334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0" name="Google Shape;350;p19">
              <a:extLst>
                <a:ext uri="{FF2B5EF4-FFF2-40B4-BE49-F238E27FC236}">
                  <a16:creationId xmlns:a16="http://schemas.microsoft.com/office/drawing/2014/main" id="{C0386103-0374-8EAA-D897-EB6A769E0CE7}"/>
                </a:ext>
              </a:extLst>
            </p:cNvPr>
            <p:cNvSpPr/>
            <p:nvPr/>
          </p:nvSpPr>
          <p:spPr>
            <a:xfrm>
              <a:off x="2725573" y="2387840"/>
              <a:ext cx="1939698" cy="923442"/>
            </a:xfrm>
            <a:custGeom>
              <a:avLst/>
              <a:gdLst/>
              <a:ahLst/>
              <a:cxnLst/>
              <a:rect l="l" t="t" r="r" b="b"/>
              <a:pathLst>
                <a:path w="50721" h="24147" extrusionOk="0">
                  <a:moveTo>
                    <a:pt x="17597" y="1"/>
                  </a:moveTo>
                  <a:cubicBezTo>
                    <a:pt x="15633" y="1"/>
                    <a:pt x="14037" y="1585"/>
                    <a:pt x="14037" y="3549"/>
                  </a:cubicBezTo>
                  <a:lnTo>
                    <a:pt x="14037" y="12717"/>
                  </a:lnTo>
                  <a:cubicBezTo>
                    <a:pt x="14037" y="13848"/>
                    <a:pt x="13121" y="14765"/>
                    <a:pt x="11990" y="14765"/>
                  </a:cubicBezTo>
                  <a:lnTo>
                    <a:pt x="8692" y="14765"/>
                  </a:lnTo>
                  <a:cubicBezTo>
                    <a:pt x="7941" y="14765"/>
                    <a:pt x="7287" y="14360"/>
                    <a:pt x="6929" y="13753"/>
                  </a:cubicBezTo>
                  <a:cubicBezTo>
                    <a:pt x="6275" y="12681"/>
                    <a:pt x="5084" y="11955"/>
                    <a:pt x="3739" y="11955"/>
                  </a:cubicBezTo>
                  <a:cubicBezTo>
                    <a:pt x="1679" y="11955"/>
                    <a:pt x="0" y="13634"/>
                    <a:pt x="0" y="15693"/>
                  </a:cubicBezTo>
                  <a:cubicBezTo>
                    <a:pt x="0" y="17753"/>
                    <a:pt x="1679" y="19420"/>
                    <a:pt x="3739" y="19420"/>
                  </a:cubicBezTo>
                  <a:cubicBezTo>
                    <a:pt x="5084" y="19420"/>
                    <a:pt x="6275" y="18706"/>
                    <a:pt x="6929" y="17622"/>
                  </a:cubicBezTo>
                  <a:cubicBezTo>
                    <a:pt x="7287" y="17027"/>
                    <a:pt x="7941" y="16622"/>
                    <a:pt x="8692" y="16622"/>
                  </a:cubicBezTo>
                  <a:lnTo>
                    <a:pt x="11990" y="16622"/>
                  </a:lnTo>
                  <a:cubicBezTo>
                    <a:pt x="13121" y="16622"/>
                    <a:pt x="14037" y="17539"/>
                    <a:pt x="14037" y="18670"/>
                  </a:cubicBezTo>
                  <a:lnTo>
                    <a:pt x="14037" y="20599"/>
                  </a:lnTo>
                  <a:cubicBezTo>
                    <a:pt x="14037" y="22551"/>
                    <a:pt x="15633" y="24147"/>
                    <a:pt x="17597" y="24147"/>
                  </a:cubicBezTo>
                  <a:lnTo>
                    <a:pt x="47173" y="24147"/>
                  </a:lnTo>
                  <a:cubicBezTo>
                    <a:pt x="49137" y="24147"/>
                    <a:pt x="50721" y="22551"/>
                    <a:pt x="50721" y="20599"/>
                  </a:cubicBezTo>
                  <a:lnTo>
                    <a:pt x="50721" y="3549"/>
                  </a:lnTo>
                  <a:cubicBezTo>
                    <a:pt x="50721" y="1585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1" name="Google Shape;351;p19">
              <a:extLst>
                <a:ext uri="{FF2B5EF4-FFF2-40B4-BE49-F238E27FC236}">
                  <a16:creationId xmlns:a16="http://schemas.microsoft.com/office/drawing/2014/main" id="{0F9E0DF7-73DD-BD0E-B8EF-9C7B360CAD62}"/>
                </a:ext>
              </a:extLst>
            </p:cNvPr>
            <p:cNvSpPr/>
            <p:nvPr/>
          </p:nvSpPr>
          <p:spPr>
            <a:xfrm>
              <a:off x="2752419" y="287187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0"/>
                  </a:moveTo>
                  <a:cubicBezTo>
                    <a:pt x="1358" y="0"/>
                    <a:pt x="0" y="1358"/>
                    <a:pt x="0" y="3036"/>
                  </a:cubicBezTo>
                  <a:cubicBezTo>
                    <a:pt x="0" y="4715"/>
                    <a:pt x="1358" y="6072"/>
                    <a:pt x="3037" y="6072"/>
                  </a:cubicBezTo>
                  <a:cubicBezTo>
                    <a:pt x="4715" y="6072"/>
                    <a:pt x="6073" y="4715"/>
                    <a:pt x="6073" y="3036"/>
                  </a:cubicBezTo>
                  <a:cubicBezTo>
                    <a:pt x="6073" y="1358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352;p19">
              <a:extLst>
                <a:ext uri="{FF2B5EF4-FFF2-40B4-BE49-F238E27FC236}">
                  <a16:creationId xmlns:a16="http://schemas.microsoft.com/office/drawing/2014/main" id="{BE1E2195-21A6-BB86-3C83-F18FD79DF686}"/>
                </a:ext>
              </a:extLst>
            </p:cNvPr>
            <p:cNvSpPr/>
            <p:nvPr/>
          </p:nvSpPr>
          <p:spPr>
            <a:xfrm>
              <a:off x="3195458" y="241731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1465" y="1"/>
                    <a:pt x="191" y="1168"/>
                    <a:pt x="12" y="2656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80"/>
                    <a:pt x="1346" y="6025"/>
                    <a:pt x="3001" y="6025"/>
                  </a:cubicBezTo>
                  <a:lnTo>
                    <a:pt x="39005" y="6025"/>
                  </a:lnTo>
                  <a:cubicBezTo>
                    <a:pt x="39827" y="6025"/>
                    <a:pt x="40589" y="6359"/>
                    <a:pt x="41124" y="6906"/>
                  </a:cubicBezTo>
                  <a:cubicBezTo>
                    <a:pt x="41589" y="7371"/>
                    <a:pt x="41898" y="7990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92"/>
                    <a:pt x="41672" y="1430"/>
                    <a:pt x="41124" y="894"/>
                  </a:cubicBezTo>
                  <a:cubicBezTo>
                    <a:pt x="40589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3" name="Google Shape;353;p19">
              <a:extLst>
                <a:ext uri="{FF2B5EF4-FFF2-40B4-BE49-F238E27FC236}">
                  <a16:creationId xmlns:a16="http://schemas.microsoft.com/office/drawing/2014/main" id="{43A4A958-CE97-F05E-A352-0D4F34078236}"/>
                </a:ext>
              </a:extLst>
            </p:cNvPr>
            <p:cNvSpPr/>
            <p:nvPr/>
          </p:nvSpPr>
          <p:spPr>
            <a:xfrm>
              <a:off x="3195458" y="2387428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1346" y="0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46"/>
                    <a:pt x="41124" y="6894"/>
                  </a:cubicBezTo>
                  <a:cubicBezTo>
                    <a:pt x="41672" y="7442"/>
                    <a:pt x="42005" y="8192"/>
                    <a:pt x="42005" y="9013"/>
                  </a:cubicBez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77" y="334"/>
                    <a:pt x="39827" y="0"/>
                    <a:pt x="39005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4" name="Google Shape;354;p19">
              <a:extLst>
                <a:ext uri="{FF2B5EF4-FFF2-40B4-BE49-F238E27FC236}">
                  <a16:creationId xmlns:a16="http://schemas.microsoft.com/office/drawing/2014/main" id="{166320F0-CCB3-F892-39B4-120280EC6791}"/>
                </a:ext>
              </a:extLst>
            </p:cNvPr>
            <p:cNvSpPr txBox="1"/>
            <p:nvPr/>
          </p:nvSpPr>
          <p:spPr>
            <a:xfrm>
              <a:off x="3265722" y="271575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rain model with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25" name="Google Shape;355;p19">
              <a:extLst>
                <a:ext uri="{FF2B5EF4-FFF2-40B4-BE49-F238E27FC236}">
                  <a16:creationId xmlns:a16="http://schemas.microsoft.com/office/drawing/2014/main" id="{0AB07A8E-6132-3718-E204-6EC03DB0058F}"/>
                </a:ext>
              </a:extLst>
            </p:cNvPr>
            <p:cNvSpPr txBox="1"/>
            <p:nvPr/>
          </p:nvSpPr>
          <p:spPr>
            <a:xfrm>
              <a:off x="3195450" y="23874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rain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26" name="Google Shape;356;p19">
            <a:extLst>
              <a:ext uri="{FF2B5EF4-FFF2-40B4-BE49-F238E27FC236}">
                <a16:creationId xmlns:a16="http://schemas.microsoft.com/office/drawing/2014/main" id="{363CB442-5B41-9EA5-3609-0A6BFB101BCF}"/>
              </a:ext>
            </a:extLst>
          </p:cNvPr>
          <p:cNvGrpSpPr/>
          <p:nvPr/>
        </p:nvGrpSpPr>
        <p:grpSpPr>
          <a:xfrm>
            <a:off x="6374003" y="1154501"/>
            <a:ext cx="2078594" cy="979497"/>
            <a:chOff x="2723278" y="1150750"/>
            <a:chExt cx="2078594" cy="979497"/>
          </a:xfrm>
        </p:grpSpPr>
        <p:sp>
          <p:nvSpPr>
            <p:cNvPr id="27" name="Google Shape;357;p19">
              <a:extLst>
                <a:ext uri="{FF2B5EF4-FFF2-40B4-BE49-F238E27FC236}">
                  <a16:creationId xmlns:a16="http://schemas.microsoft.com/office/drawing/2014/main" id="{EE00E48D-BEF0-D033-3ED3-3FA5486E19CE}"/>
                </a:ext>
              </a:extLst>
            </p:cNvPr>
            <p:cNvSpPr/>
            <p:nvPr/>
          </p:nvSpPr>
          <p:spPr>
            <a:xfrm>
              <a:off x="2723278" y="1169328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1"/>
                  </a:moveTo>
                  <a:cubicBezTo>
                    <a:pt x="16310" y="1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7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5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60"/>
                    <a:pt x="1632" y="18886"/>
                    <a:pt x="3715" y="18958"/>
                  </a:cubicBezTo>
                  <a:cubicBezTo>
                    <a:pt x="3750" y="18959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90"/>
                    <a:pt x="8020" y="16325"/>
                    <a:pt x="8743" y="16325"/>
                  </a:cubicBezTo>
                  <a:cubicBezTo>
                    <a:pt x="8765" y="16325"/>
                    <a:pt x="8788" y="16326"/>
                    <a:pt x="8811" y="16326"/>
                  </a:cubicBezTo>
                  <a:lnTo>
                    <a:pt x="12157" y="16434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70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7"/>
                    <a:pt x="47570" y="25127"/>
                  </a:cubicBezTo>
                  <a:cubicBezTo>
                    <a:pt x="49509" y="25127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4"/>
                    <a:pt x="50245" y="1051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1"/>
                    <a:pt x="18228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358;p19">
              <a:extLst>
                <a:ext uri="{FF2B5EF4-FFF2-40B4-BE49-F238E27FC236}">
                  <a16:creationId xmlns:a16="http://schemas.microsoft.com/office/drawing/2014/main" id="{4C45B391-0EBD-FBC1-E89D-BC4A3C61C49C}"/>
                </a:ext>
              </a:extLst>
            </p:cNvPr>
            <p:cNvSpPr/>
            <p:nvPr/>
          </p:nvSpPr>
          <p:spPr>
            <a:xfrm>
              <a:off x="4624272" y="1406505"/>
              <a:ext cx="177598" cy="256316"/>
            </a:xfrm>
            <a:custGeom>
              <a:avLst/>
              <a:gdLst/>
              <a:ahLst/>
              <a:cxnLst/>
              <a:rect l="l" t="t" r="r" b="b"/>
              <a:pathLst>
                <a:path w="4644" h="6026" extrusionOk="0">
                  <a:moveTo>
                    <a:pt x="0" y="1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4"/>
                  </a:cubicBezTo>
                  <a:cubicBezTo>
                    <a:pt x="3215" y="346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9" name="Google Shape;359;p19">
              <a:extLst>
                <a:ext uri="{FF2B5EF4-FFF2-40B4-BE49-F238E27FC236}">
                  <a16:creationId xmlns:a16="http://schemas.microsoft.com/office/drawing/2014/main" id="{735C1EAF-3922-D645-80E5-AF0CF28C0D00}"/>
                </a:ext>
              </a:extLst>
            </p:cNvPr>
            <p:cNvSpPr/>
            <p:nvPr/>
          </p:nvSpPr>
          <p:spPr>
            <a:xfrm>
              <a:off x="2725573" y="1151201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1"/>
                  </a:moveTo>
                  <a:cubicBezTo>
                    <a:pt x="15633" y="1"/>
                    <a:pt x="14037" y="1596"/>
                    <a:pt x="14037" y="3561"/>
                  </a:cubicBezTo>
                  <a:lnTo>
                    <a:pt x="14037" y="12717"/>
                  </a:lnTo>
                  <a:cubicBezTo>
                    <a:pt x="14037" y="13848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60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2"/>
                    <a:pt x="3739" y="19432"/>
                  </a:cubicBezTo>
                  <a:cubicBezTo>
                    <a:pt x="5084" y="19432"/>
                    <a:pt x="6275" y="18705"/>
                    <a:pt x="6929" y="17634"/>
                  </a:cubicBezTo>
                  <a:cubicBezTo>
                    <a:pt x="7287" y="17027"/>
                    <a:pt x="7941" y="16634"/>
                    <a:pt x="8692" y="16634"/>
                  </a:cubicBezTo>
                  <a:lnTo>
                    <a:pt x="11990" y="16634"/>
                  </a:lnTo>
                  <a:cubicBezTo>
                    <a:pt x="13121" y="16634"/>
                    <a:pt x="14037" y="17539"/>
                    <a:pt x="14037" y="18670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61"/>
                  </a:lnTo>
                  <a:cubicBezTo>
                    <a:pt x="50721" y="1596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0" name="Google Shape;360;p19">
              <a:extLst>
                <a:ext uri="{FF2B5EF4-FFF2-40B4-BE49-F238E27FC236}">
                  <a16:creationId xmlns:a16="http://schemas.microsoft.com/office/drawing/2014/main" id="{B0250220-4F43-94EC-5479-D17FB1FEAF20}"/>
                </a:ext>
              </a:extLst>
            </p:cNvPr>
            <p:cNvSpPr/>
            <p:nvPr/>
          </p:nvSpPr>
          <p:spPr>
            <a:xfrm>
              <a:off x="2752419" y="1635195"/>
              <a:ext cx="232247" cy="232285"/>
            </a:xfrm>
            <a:custGeom>
              <a:avLst/>
              <a:gdLst/>
              <a:ahLst/>
              <a:cxnLst/>
              <a:rect l="l" t="t" r="r" b="b"/>
              <a:pathLst>
                <a:path w="6073" h="6074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1" name="Google Shape;361;p19">
              <a:extLst>
                <a:ext uri="{FF2B5EF4-FFF2-40B4-BE49-F238E27FC236}">
                  <a16:creationId xmlns:a16="http://schemas.microsoft.com/office/drawing/2014/main" id="{B9C2E377-FBB7-BACE-D669-75B840CC9687}"/>
                </a:ext>
              </a:extLst>
            </p:cNvPr>
            <p:cNvSpPr/>
            <p:nvPr/>
          </p:nvSpPr>
          <p:spPr>
            <a:xfrm>
              <a:off x="3195458" y="1181162"/>
              <a:ext cx="1606414" cy="36873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8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6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2" name="Google Shape;362;p19">
              <a:extLst>
                <a:ext uri="{FF2B5EF4-FFF2-40B4-BE49-F238E27FC236}">
                  <a16:creationId xmlns:a16="http://schemas.microsoft.com/office/drawing/2014/main" id="{4A81ED20-F49E-7F84-EA78-2BF1B239E57E}"/>
                </a:ext>
              </a:extLst>
            </p:cNvPr>
            <p:cNvSpPr/>
            <p:nvPr/>
          </p:nvSpPr>
          <p:spPr>
            <a:xfrm>
              <a:off x="3195458" y="1150750"/>
              <a:ext cx="1606414" cy="383921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4"/>
                    <a:pt x="3001" y="6014"/>
                  </a:cubicBezTo>
                  <a:lnTo>
                    <a:pt x="39005" y="6014"/>
                  </a:lnTo>
                  <a:cubicBezTo>
                    <a:pt x="39827" y="6014"/>
                    <a:pt x="40577" y="6359"/>
                    <a:pt x="41124" y="6907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30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3" name="Google Shape;363;p19">
              <a:extLst>
                <a:ext uri="{FF2B5EF4-FFF2-40B4-BE49-F238E27FC236}">
                  <a16:creationId xmlns:a16="http://schemas.microsoft.com/office/drawing/2014/main" id="{BC794B05-5D85-8D8E-35E9-689E5F6C33FA}"/>
                </a:ext>
              </a:extLst>
            </p:cNvPr>
            <p:cNvSpPr txBox="1"/>
            <p:nvPr/>
          </p:nvSpPr>
          <p:spPr>
            <a:xfrm>
              <a:off x="3265722" y="147550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Put into data frame as one string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grpSp>
        <p:nvGrpSpPr>
          <p:cNvPr id="35" name="Google Shape;365;p19">
            <a:extLst>
              <a:ext uri="{FF2B5EF4-FFF2-40B4-BE49-F238E27FC236}">
                <a16:creationId xmlns:a16="http://schemas.microsoft.com/office/drawing/2014/main" id="{0BADACB9-1085-F688-313B-7C43F818523C}"/>
              </a:ext>
            </a:extLst>
          </p:cNvPr>
          <p:cNvGrpSpPr/>
          <p:nvPr/>
        </p:nvGrpSpPr>
        <p:grpSpPr>
          <a:xfrm>
            <a:off x="4584563" y="536651"/>
            <a:ext cx="2079971" cy="979046"/>
            <a:chOff x="933838" y="532900"/>
            <a:chExt cx="2079971" cy="979046"/>
          </a:xfrm>
        </p:grpSpPr>
        <p:sp>
          <p:nvSpPr>
            <p:cNvPr id="36" name="Google Shape;366;p19">
              <a:extLst>
                <a:ext uri="{FF2B5EF4-FFF2-40B4-BE49-F238E27FC236}">
                  <a16:creationId xmlns:a16="http://schemas.microsoft.com/office/drawing/2014/main" id="{AEAFFB94-29F2-E5C1-D5BD-8F27940CD915}"/>
                </a:ext>
              </a:extLst>
            </p:cNvPr>
            <p:cNvSpPr/>
            <p:nvPr/>
          </p:nvSpPr>
          <p:spPr>
            <a:xfrm>
              <a:off x="1033115" y="55102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33544" y="1"/>
                  </a:moveTo>
                  <a:cubicBezTo>
                    <a:pt x="33507" y="1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8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6"/>
                    <a:pt x="4322" y="25124"/>
                  </a:cubicBezTo>
                  <a:lnTo>
                    <a:pt x="34231" y="24136"/>
                  </a:lnTo>
                  <a:cubicBezTo>
                    <a:pt x="36207" y="24077"/>
                    <a:pt x="37767" y="22434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26"/>
                  </a:lnTo>
                  <a:cubicBezTo>
                    <a:pt x="43004" y="16325"/>
                    <a:pt x="43026" y="16325"/>
                    <a:pt x="43049" y="16325"/>
                  </a:cubicBezTo>
                  <a:cubicBezTo>
                    <a:pt x="43772" y="16325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9"/>
                    <a:pt x="48078" y="18957"/>
                  </a:cubicBezTo>
                  <a:cubicBezTo>
                    <a:pt x="50162" y="18886"/>
                    <a:pt x="51793" y="17159"/>
                    <a:pt x="51721" y="15099"/>
                  </a:cubicBezTo>
                  <a:cubicBezTo>
                    <a:pt x="51663" y="13077"/>
                    <a:pt x="49974" y="11490"/>
                    <a:pt x="47940" y="11490"/>
                  </a:cubicBezTo>
                  <a:cubicBezTo>
                    <a:pt x="47903" y="11490"/>
                    <a:pt x="47865" y="11491"/>
                    <a:pt x="47828" y="11492"/>
                  </a:cubicBezTo>
                  <a:cubicBezTo>
                    <a:pt x="46459" y="11539"/>
                    <a:pt x="45292" y="12301"/>
                    <a:pt x="44661" y="13397"/>
                  </a:cubicBezTo>
                  <a:cubicBezTo>
                    <a:pt x="44327" y="14004"/>
                    <a:pt x="43673" y="14433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7"/>
                    <a:pt x="39511" y="14577"/>
                  </a:cubicBezTo>
                  <a:cubicBezTo>
                    <a:pt x="38397" y="14577"/>
                    <a:pt x="37480" y="13697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1"/>
                    <a:pt x="33544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7" name="Google Shape;367;p19">
              <a:extLst>
                <a:ext uri="{FF2B5EF4-FFF2-40B4-BE49-F238E27FC236}">
                  <a16:creationId xmlns:a16="http://schemas.microsoft.com/office/drawing/2014/main" id="{83656B75-FA65-EADB-2A16-79FDF08446F0}"/>
                </a:ext>
              </a:extLst>
            </p:cNvPr>
            <p:cNvSpPr/>
            <p:nvPr/>
          </p:nvSpPr>
          <p:spPr>
            <a:xfrm>
              <a:off x="933838" y="78889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80"/>
                    <a:pt x="1" y="3001"/>
                  </a:cubicBezTo>
                  <a:cubicBezTo>
                    <a:pt x="1" y="4668"/>
                    <a:pt x="1346" y="6014"/>
                    <a:pt x="3001" y="6014"/>
                  </a:cubicBezTo>
                  <a:lnTo>
                    <a:pt x="4644" y="6014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8" name="Google Shape;368;p19">
              <a:extLst>
                <a:ext uri="{FF2B5EF4-FFF2-40B4-BE49-F238E27FC236}">
                  <a16:creationId xmlns:a16="http://schemas.microsoft.com/office/drawing/2014/main" id="{7E701376-48ED-70B6-D905-39B99D47F14E}"/>
                </a:ext>
              </a:extLst>
            </p:cNvPr>
            <p:cNvSpPr/>
            <p:nvPr/>
          </p:nvSpPr>
          <p:spPr>
            <a:xfrm>
              <a:off x="1071816" y="532900"/>
              <a:ext cx="1939277" cy="923862"/>
            </a:xfrm>
            <a:custGeom>
              <a:avLst/>
              <a:gdLst/>
              <a:ahLst/>
              <a:cxnLst/>
              <a:rect l="l" t="t" r="r" b="b"/>
              <a:pathLst>
                <a:path w="50710" h="24158" extrusionOk="0">
                  <a:moveTo>
                    <a:pt x="3549" y="0"/>
                  </a:moveTo>
                  <a:cubicBezTo>
                    <a:pt x="1584" y="0"/>
                    <a:pt x="1" y="1595"/>
                    <a:pt x="1" y="3560"/>
                  </a:cubicBezTo>
                  <a:lnTo>
                    <a:pt x="1" y="20610"/>
                  </a:lnTo>
                  <a:cubicBezTo>
                    <a:pt x="1" y="22562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2"/>
                    <a:pt x="36684" y="20610"/>
                  </a:cubicBezTo>
                  <a:lnTo>
                    <a:pt x="36684" y="18669"/>
                  </a:lnTo>
                  <a:cubicBezTo>
                    <a:pt x="36684" y="17550"/>
                    <a:pt x="37600" y="16633"/>
                    <a:pt x="38720" y="16633"/>
                  </a:cubicBezTo>
                  <a:lnTo>
                    <a:pt x="42030" y="16633"/>
                  </a:lnTo>
                  <a:cubicBezTo>
                    <a:pt x="42780" y="16633"/>
                    <a:pt x="43435" y="17038"/>
                    <a:pt x="43792" y="17633"/>
                  </a:cubicBezTo>
                  <a:cubicBezTo>
                    <a:pt x="44447" y="18705"/>
                    <a:pt x="45625" y="19431"/>
                    <a:pt x="46983" y="19431"/>
                  </a:cubicBezTo>
                  <a:cubicBezTo>
                    <a:pt x="49042" y="19431"/>
                    <a:pt x="50709" y="17752"/>
                    <a:pt x="50709" y="15692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2"/>
                    <a:pt x="43792" y="13764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28"/>
                  </a:cubicBezTo>
                  <a:lnTo>
                    <a:pt x="36684" y="3560"/>
                  </a:lnTo>
                  <a:cubicBezTo>
                    <a:pt x="36684" y="1595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9" name="Google Shape;369;p19">
              <a:extLst>
                <a:ext uri="{FF2B5EF4-FFF2-40B4-BE49-F238E27FC236}">
                  <a16:creationId xmlns:a16="http://schemas.microsoft.com/office/drawing/2014/main" id="{F478A4FC-C28A-AA2E-07A3-6DE1CFA16A04}"/>
                </a:ext>
              </a:extLst>
            </p:cNvPr>
            <p:cNvSpPr/>
            <p:nvPr/>
          </p:nvSpPr>
          <p:spPr>
            <a:xfrm>
              <a:off x="2752419" y="1016894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70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70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0" name="Google Shape;370;p19">
              <a:extLst>
                <a:ext uri="{FF2B5EF4-FFF2-40B4-BE49-F238E27FC236}">
                  <a16:creationId xmlns:a16="http://schemas.microsoft.com/office/drawing/2014/main" id="{D2CC46E4-0E18-C459-6731-7788D1035C52}"/>
                </a:ext>
              </a:extLst>
            </p:cNvPr>
            <p:cNvSpPr/>
            <p:nvPr/>
          </p:nvSpPr>
          <p:spPr>
            <a:xfrm>
              <a:off x="935214" y="56279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2168" y="1"/>
                    <a:pt x="1417" y="346"/>
                    <a:pt x="882" y="882"/>
                  </a:cubicBezTo>
                  <a:cubicBezTo>
                    <a:pt x="334" y="1429"/>
                    <a:pt x="1" y="2180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1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6"/>
                  </a:cubicBezTo>
                  <a:cubicBezTo>
                    <a:pt x="41815" y="1168"/>
                    <a:pt x="40541" y="1"/>
                    <a:pt x="39006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1" name="Google Shape;371;p19">
              <a:extLst>
                <a:ext uri="{FF2B5EF4-FFF2-40B4-BE49-F238E27FC236}">
                  <a16:creationId xmlns:a16="http://schemas.microsoft.com/office/drawing/2014/main" id="{BC0ADE3B-6BCB-A7F7-4E00-3B2C828E5260}"/>
                </a:ext>
              </a:extLst>
            </p:cNvPr>
            <p:cNvSpPr/>
            <p:nvPr/>
          </p:nvSpPr>
          <p:spPr>
            <a:xfrm>
              <a:off x="935214" y="532909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2168" y="0"/>
                    <a:pt x="1417" y="334"/>
                    <a:pt x="882" y="881"/>
                  </a:cubicBezTo>
                  <a:cubicBezTo>
                    <a:pt x="334" y="1417"/>
                    <a:pt x="1" y="2167"/>
                    <a:pt x="1" y="3001"/>
                  </a:cubicBezTo>
                  <a:lnTo>
                    <a:pt x="1" y="9013"/>
                  </a:lnTo>
                  <a:cubicBezTo>
                    <a:pt x="1" y="8192"/>
                    <a:pt x="334" y="7430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01"/>
                  </a:cubicBezTo>
                  <a:cubicBezTo>
                    <a:pt x="42006" y="1346"/>
                    <a:pt x="40660" y="0"/>
                    <a:pt x="39006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00"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2" name="Google Shape;372;p19">
              <a:extLst>
                <a:ext uri="{FF2B5EF4-FFF2-40B4-BE49-F238E27FC236}">
                  <a16:creationId xmlns:a16="http://schemas.microsoft.com/office/drawing/2014/main" id="{E28453F8-3EC6-DEDA-53C6-7ABEECD01F9A}"/>
                </a:ext>
              </a:extLst>
            </p:cNvPr>
            <p:cNvSpPr txBox="1"/>
            <p:nvPr/>
          </p:nvSpPr>
          <p:spPr>
            <a:xfrm>
              <a:off x="1081172" y="857225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5000 samples of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43" name="Google Shape;373;p19">
              <a:extLst>
                <a:ext uri="{FF2B5EF4-FFF2-40B4-BE49-F238E27FC236}">
                  <a16:creationId xmlns:a16="http://schemas.microsoft.com/office/drawing/2014/main" id="{33B1B2FE-6B07-658C-8002-785DCE648388}"/>
                </a:ext>
              </a:extLst>
            </p:cNvPr>
            <p:cNvSpPr txBox="1"/>
            <p:nvPr/>
          </p:nvSpPr>
          <p:spPr>
            <a:xfrm>
              <a:off x="1071825" y="532900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sym typeface="Fira Sans Extra Condensed Medium"/>
                </a:rPr>
                <a:t>Obtain Data</a:t>
              </a:r>
              <a:endParaRPr lang="en-US"/>
            </a:p>
          </p:txBody>
        </p:sp>
      </p:grpSp>
      <p:grpSp>
        <p:nvGrpSpPr>
          <p:cNvPr id="44" name="Google Shape;374;p19">
            <a:extLst>
              <a:ext uri="{FF2B5EF4-FFF2-40B4-BE49-F238E27FC236}">
                <a16:creationId xmlns:a16="http://schemas.microsoft.com/office/drawing/2014/main" id="{870EE28C-0036-35F6-40D7-794CBF7727D0}"/>
              </a:ext>
            </a:extLst>
          </p:cNvPr>
          <p:cNvGrpSpPr/>
          <p:nvPr/>
        </p:nvGrpSpPr>
        <p:grpSpPr>
          <a:xfrm>
            <a:off x="4584563" y="1772840"/>
            <a:ext cx="2079971" cy="979076"/>
            <a:chOff x="933838" y="1769089"/>
            <a:chExt cx="2079971" cy="979076"/>
          </a:xfrm>
        </p:grpSpPr>
        <p:sp>
          <p:nvSpPr>
            <p:cNvPr id="45" name="Google Shape;375;p19">
              <a:extLst>
                <a:ext uri="{FF2B5EF4-FFF2-40B4-BE49-F238E27FC236}">
                  <a16:creationId xmlns:a16="http://schemas.microsoft.com/office/drawing/2014/main" id="{41B1EE30-89B3-AED7-3C71-D8B988EBC1D5}"/>
                </a:ext>
              </a:extLst>
            </p:cNvPr>
            <p:cNvSpPr/>
            <p:nvPr/>
          </p:nvSpPr>
          <p:spPr>
            <a:xfrm>
              <a:off x="1033115" y="1787667"/>
              <a:ext cx="1980694" cy="960499"/>
            </a:xfrm>
            <a:custGeom>
              <a:avLst/>
              <a:gdLst/>
              <a:ahLst/>
              <a:cxnLst/>
              <a:rect l="l" t="t" r="r" b="b"/>
              <a:pathLst>
                <a:path w="51793" h="25116" extrusionOk="0">
                  <a:moveTo>
                    <a:pt x="33566" y="0"/>
                  </a:moveTo>
                  <a:cubicBezTo>
                    <a:pt x="33522" y="0"/>
                    <a:pt x="33478" y="1"/>
                    <a:pt x="33433" y="3"/>
                  </a:cubicBezTo>
                  <a:lnTo>
                    <a:pt x="3537" y="979"/>
                  </a:lnTo>
                  <a:cubicBezTo>
                    <a:pt x="1548" y="1050"/>
                    <a:pt x="0" y="2693"/>
                    <a:pt x="60" y="4646"/>
                  </a:cubicBezTo>
                  <a:lnTo>
                    <a:pt x="620" y="21684"/>
                  </a:lnTo>
                  <a:cubicBezTo>
                    <a:pt x="689" y="23604"/>
                    <a:pt x="2273" y="25115"/>
                    <a:pt x="4190" y="25115"/>
                  </a:cubicBezTo>
                  <a:cubicBezTo>
                    <a:pt x="4234" y="25115"/>
                    <a:pt x="4278" y="25114"/>
                    <a:pt x="4322" y="25113"/>
                  </a:cubicBezTo>
                  <a:lnTo>
                    <a:pt x="34231" y="24136"/>
                  </a:lnTo>
                  <a:cubicBezTo>
                    <a:pt x="36207" y="24065"/>
                    <a:pt x="37767" y="22422"/>
                    <a:pt x="37696" y="20469"/>
                  </a:cubicBezTo>
                  <a:lnTo>
                    <a:pt x="37636" y="18541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14"/>
                  </a:lnTo>
                  <a:cubicBezTo>
                    <a:pt x="43004" y="16313"/>
                    <a:pt x="43026" y="16313"/>
                    <a:pt x="43048" y="16313"/>
                  </a:cubicBezTo>
                  <a:cubicBezTo>
                    <a:pt x="43772" y="16313"/>
                    <a:pt x="44422" y="16689"/>
                    <a:pt x="44792" y="17267"/>
                  </a:cubicBezTo>
                  <a:cubicBezTo>
                    <a:pt x="45460" y="18280"/>
                    <a:pt x="46628" y="18948"/>
                    <a:pt x="47943" y="18948"/>
                  </a:cubicBezTo>
                  <a:cubicBezTo>
                    <a:pt x="47988" y="18948"/>
                    <a:pt x="48033" y="18947"/>
                    <a:pt x="48078" y="18945"/>
                  </a:cubicBezTo>
                  <a:cubicBezTo>
                    <a:pt x="50162" y="18886"/>
                    <a:pt x="51793" y="17159"/>
                    <a:pt x="51721" y="15100"/>
                  </a:cubicBezTo>
                  <a:cubicBezTo>
                    <a:pt x="51663" y="13084"/>
                    <a:pt x="49985" y="11490"/>
                    <a:pt x="47961" y="11490"/>
                  </a:cubicBezTo>
                  <a:cubicBezTo>
                    <a:pt x="47916" y="11490"/>
                    <a:pt x="47872" y="11491"/>
                    <a:pt x="47828" y="11492"/>
                  </a:cubicBezTo>
                  <a:cubicBezTo>
                    <a:pt x="46459" y="11540"/>
                    <a:pt x="45292" y="12290"/>
                    <a:pt x="44661" y="13397"/>
                  </a:cubicBezTo>
                  <a:cubicBezTo>
                    <a:pt x="44327" y="14004"/>
                    <a:pt x="43673" y="14433"/>
                    <a:pt x="42911" y="14457"/>
                  </a:cubicBezTo>
                  <a:lnTo>
                    <a:pt x="39577" y="14564"/>
                  </a:lnTo>
                  <a:cubicBezTo>
                    <a:pt x="39554" y="14565"/>
                    <a:pt x="39532" y="14565"/>
                    <a:pt x="39510" y="14565"/>
                  </a:cubicBezTo>
                  <a:cubicBezTo>
                    <a:pt x="38397" y="14565"/>
                    <a:pt x="37480" y="13696"/>
                    <a:pt x="37434" y="12587"/>
                  </a:cubicBezTo>
                  <a:lnTo>
                    <a:pt x="37136" y="3432"/>
                  </a:lnTo>
                  <a:cubicBezTo>
                    <a:pt x="37078" y="1511"/>
                    <a:pt x="35484" y="0"/>
                    <a:pt x="3356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6" name="Google Shape;376;p19">
              <a:extLst>
                <a:ext uri="{FF2B5EF4-FFF2-40B4-BE49-F238E27FC236}">
                  <a16:creationId xmlns:a16="http://schemas.microsoft.com/office/drawing/2014/main" id="{67C489D2-02A3-1001-86AF-4CE4EC84E40D}"/>
                </a:ext>
              </a:extLst>
            </p:cNvPr>
            <p:cNvSpPr/>
            <p:nvPr/>
          </p:nvSpPr>
          <p:spPr>
            <a:xfrm>
              <a:off x="933838" y="2025120"/>
              <a:ext cx="177598" cy="256034"/>
            </a:xfrm>
            <a:custGeom>
              <a:avLst/>
              <a:gdLst/>
              <a:ahLst/>
              <a:cxnLst/>
              <a:rect l="l" t="t" r="r" b="b"/>
              <a:pathLst>
                <a:path w="4644" h="6013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7" name="Google Shape;377;p19">
              <a:extLst>
                <a:ext uri="{FF2B5EF4-FFF2-40B4-BE49-F238E27FC236}">
                  <a16:creationId xmlns:a16="http://schemas.microsoft.com/office/drawing/2014/main" id="{9D768FB2-F32D-6A09-EE2C-0C4F2743114B}"/>
                </a:ext>
              </a:extLst>
            </p:cNvPr>
            <p:cNvSpPr/>
            <p:nvPr/>
          </p:nvSpPr>
          <p:spPr>
            <a:xfrm>
              <a:off x="1071816" y="1769540"/>
              <a:ext cx="1939277" cy="923442"/>
            </a:xfrm>
            <a:custGeom>
              <a:avLst/>
              <a:gdLst/>
              <a:ahLst/>
              <a:cxnLst/>
              <a:rect l="l" t="t" r="r" b="b"/>
              <a:pathLst>
                <a:path w="50710" h="24147" extrusionOk="0">
                  <a:moveTo>
                    <a:pt x="3549" y="0"/>
                  </a:moveTo>
                  <a:cubicBezTo>
                    <a:pt x="1584" y="0"/>
                    <a:pt x="1" y="1596"/>
                    <a:pt x="1" y="3548"/>
                  </a:cubicBezTo>
                  <a:lnTo>
                    <a:pt x="1" y="20598"/>
                  </a:lnTo>
                  <a:cubicBezTo>
                    <a:pt x="1" y="22563"/>
                    <a:pt x="1584" y="24146"/>
                    <a:pt x="3549" y="24146"/>
                  </a:cubicBezTo>
                  <a:lnTo>
                    <a:pt x="33124" y="24146"/>
                  </a:lnTo>
                  <a:cubicBezTo>
                    <a:pt x="35088" y="24146"/>
                    <a:pt x="36684" y="22563"/>
                    <a:pt x="36684" y="20598"/>
                  </a:cubicBezTo>
                  <a:lnTo>
                    <a:pt x="36684" y="18669"/>
                  </a:lnTo>
                  <a:cubicBezTo>
                    <a:pt x="36684" y="17538"/>
                    <a:pt x="37600" y="16621"/>
                    <a:pt x="38720" y="16621"/>
                  </a:cubicBezTo>
                  <a:lnTo>
                    <a:pt x="42030" y="16621"/>
                  </a:lnTo>
                  <a:cubicBezTo>
                    <a:pt x="42780" y="16621"/>
                    <a:pt x="43435" y="17026"/>
                    <a:pt x="43792" y="17633"/>
                  </a:cubicBezTo>
                  <a:cubicBezTo>
                    <a:pt x="44447" y="18705"/>
                    <a:pt x="45625" y="19419"/>
                    <a:pt x="46983" y="19419"/>
                  </a:cubicBezTo>
                  <a:cubicBezTo>
                    <a:pt x="49042" y="19419"/>
                    <a:pt x="50709" y="17753"/>
                    <a:pt x="50709" y="15693"/>
                  </a:cubicBezTo>
                  <a:cubicBezTo>
                    <a:pt x="50709" y="13633"/>
                    <a:pt x="49042" y="11954"/>
                    <a:pt x="46983" y="11954"/>
                  </a:cubicBezTo>
                  <a:cubicBezTo>
                    <a:pt x="45625" y="11954"/>
                    <a:pt x="44447" y="12680"/>
                    <a:pt x="43792" y="13752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16"/>
                  </a:cubicBezTo>
                  <a:lnTo>
                    <a:pt x="36684" y="3548"/>
                  </a:lnTo>
                  <a:cubicBezTo>
                    <a:pt x="36684" y="1596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8" name="Google Shape;378;p19">
              <a:extLst>
                <a:ext uri="{FF2B5EF4-FFF2-40B4-BE49-F238E27FC236}">
                  <a16:creationId xmlns:a16="http://schemas.microsoft.com/office/drawing/2014/main" id="{CBF8A3D4-60B0-2762-7FC9-96766F06CE8B}"/>
                </a:ext>
              </a:extLst>
            </p:cNvPr>
            <p:cNvSpPr/>
            <p:nvPr/>
          </p:nvSpPr>
          <p:spPr>
            <a:xfrm>
              <a:off x="2752419" y="2253534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9" name="Google Shape;379;p19">
              <a:extLst>
                <a:ext uri="{FF2B5EF4-FFF2-40B4-BE49-F238E27FC236}">
                  <a16:creationId xmlns:a16="http://schemas.microsoft.com/office/drawing/2014/main" id="{ED3832C1-FF82-B007-DD8B-BCB301E2D728}"/>
                </a:ext>
              </a:extLst>
            </p:cNvPr>
            <p:cNvSpPr/>
            <p:nvPr/>
          </p:nvSpPr>
          <p:spPr>
            <a:xfrm>
              <a:off x="935214" y="1799534"/>
              <a:ext cx="1606414" cy="368572"/>
            </a:xfrm>
            <a:custGeom>
              <a:avLst/>
              <a:gdLst/>
              <a:ahLst/>
              <a:cxnLst/>
              <a:rect l="l" t="t" r="r" b="b"/>
              <a:pathLst>
                <a:path w="42006" h="8656" extrusionOk="0">
                  <a:moveTo>
                    <a:pt x="3001" y="0"/>
                  </a:moveTo>
                  <a:cubicBezTo>
                    <a:pt x="2168" y="0"/>
                    <a:pt x="1417" y="333"/>
                    <a:pt x="882" y="881"/>
                  </a:cubicBezTo>
                  <a:cubicBezTo>
                    <a:pt x="334" y="1429"/>
                    <a:pt x="1" y="2179"/>
                    <a:pt x="1" y="3012"/>
                  </a:cubicBezTo>
                  <a:lnTo>
                    <a:pt x="1" y="8311"/>
                  </a:lnTo>
                  <a:lnTo>
                    <a:pt x="24" y="8656"/>
                  </a:lnTo>
                  <a:cubicBezTo>
                    <a:pt x="108" y="7977"/>
                    <a:pt x="417" y="7358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12"/>
                  </a:cubicBezTo>
                  <a:cubicBezTo>
                    <a:pt x="42006" y="2881"/>
                    <a:pt x="42006" y="2774"/>
                    <a:pt x="41982" y="2655"/>
                  </a:cubicBezTo>
                  <a:cubicBezTo>
                    <a:pt x="41815" y="1155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380;p19">
              <a:extLst>
                <a:ext uri="{FF2B5EF4-FFF2-40B4-BE49-F238E27FC236}">
                  <a16:creationId xmlns:a16="http://schemas.microsoft.com/office/drawing/2014/main" id="{ACAF32B3-5C8F-5A7C-0583-16353C7BA9A8}"/>
                </a:ext>
              </a:extLst>
            </p:cNvPr>
            <p:cNvSpPr/>
            <p:nvPr/>
          </p:nvSpPr>
          <p:spPr>
            <a:xfrm>
              <a:off x="935214" y="1769089"/>
              <a:ext cx="1606414" cy="384327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9026"/>
                  </a:lnTo>
                  <a:cubicBezTo>
                    <a:pt x="1" y="8192"/>
                    <a:pt x="334" y="7442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381;p19">
              <a:extLst>
                <a:ext uri="{FF2B5EF4-FFF2-40B4-BE49-F238E27FC236}">
                  <a16:creationId xmlns:a16="http://schemas.microsoft.com/office/drawing/2014/main" id="{1318E4BE-E0B9-33EC-934A-18639A1F15E9}"/>
                </a:ext>
              </a:extLst>
            </p:cNvPr>
            <p:cNvSpPr txBox="1"/>
            <p:nvPr/>
          </p:nvSpPr>
          <p:spPr>
            <a:xfrm>
              <a:off x="1081172" y="209766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Encode strings and batch them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Google Shape;382;p19">
              <a:extLst>
                <a:ext uri="{FF2B5EF4-FFF2-40B4-BE49-F238E27FC236}">
                  <a16:creationId xmlns:a16="http://schemas.microsoft.com/office/drawing/2014/main" id="{66A8AB38-C7E4-96B6-0049-864E509A39E8}"/>
                </a:ext>
              </a:extLst>
            </p:cNvPr>
            <p:cNvSpPr txBox="1"/>
            <p:nvPr/>
          </p:nvSpPr>
          <p:spPr>
            <a:xfrm>
              <a:off x="1071825" y="1769313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Encode + Batch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53" name="Google Shape;383;p19">
            <a:extLst>
              <a:ext uri="{FF2B5EF4-FFF2-40B4-BE49-F238E27FC236}">
                <a16:creationId xmlns:a16="http://schemas.microsoft.com/office/drawing/2014/main" id="{084199AD-7317-DD9D-F00C-7BE4CF52FE40}"/>
              </a:ext>
            </a:extLst>
          </p:cNvPr>
          <p:cNvGrpSpPr/>
          <p:nvPr/>
        </p:nvGrpSpPr>
        <p:grpSpPr>
          <a:xfrm>
            <a:off x="4584563" y="3009472"/>
            <a:ext cx="2079971" cy="979046"/>
            <a:chOff x="933838" y="3005721"/>
            <a:chExt cx="2079971" cy="979046"/>
          </a:xfrm>
        </p:grpSpPr>
        <p:sp>
          <p:nvSpPr>
            <p:cNvPr id="54" name="Google Shape;384;p19">
              <a:extLst>
                <a:ext uri="{FF2B5EF4-FFF2-40B4-BE49-F238E27FC236}">
                  <a16:creationId xmlns:a16="http://schemas.microsoft.com/office/drawing/2014/main" id="{16DBC7E0-A3F4-DA44-3C59-2E2EA36E3AFB}"/>
                </a:ext>
              </a:extLst>
            </p:cNvPr>
            <p:cNvSpPr/>
            <p:nvPr/>
          </p:nvSpPr>
          <p:spPr>
            <a:xfrm>
              <a:off x="1033115" y="3023886"/>
              <a:ext cx="1980694" cy="960881"/>
            </a:xfrm>
            <a:custGeom>
              <a:avLst/>
              <a:gdLst/>
              <a:ahLst/>
              <a:cxnLst/>
              <a:rect l="l" t="t" r="r" b="b"/>
              <a:pathLst>
                <a:path w="51793" h="25126" extrusionOk="0">
                  <a:moveTo>
                    <a:pt x="33544" y="0"/>
                  </a:moveTo>
                  <a:cubicBezTo>
                    <a:pt x="33507" y="0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7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5"/>
                    <a:pt x="4322" y="25124"/>
                  </a:cubicBezTo>
                  <a:lnTo>
                    <a:pt x="34231" y="24136"/>
                  </a:lnTo>
                  <a:cubicBezTo>
                    <a:pt x="36207" y="24076"/>
                    <a:pt x="37767" y="22433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8"/>
                    <a:pt x="39636" y="16433"/>
                  </a:cubicBezTo>
                  <a:lnTo>
                    <a:pt x="42982" y="16325"/>
                  </a:lnTo>
                  <a:cubicBezTo>
                    <a:pt x="43004" y="16325"/>
                    <a:pt x="43026" y="16324"/>
                    <a:pt x="43049" y="16324"/>
                  </a:cubicBezTo>
                  <a:cubicBezTo>
                    <a:pt x="43772" y="16324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8"/>
                    <a:pt x="48078" y="18957"/>
                  </a:cubicBezTo>
                  <a:cubicBezTo>
                    <a:pt x="50162" y="18885"/>
                    <a:pt x="51793" y="17159"/>
                    <a:pt x="51721" y="15099"/>
                  </a:cubicBezTo>
                  <a:cubicBezTo>
                    <a:pt x="51663" y="13076"/>
                    <a:pt x="49974" y="11490"/>
                    <a:pt x="47940" y="11490"/>
                  </a:cubicBezTo>
                  <a:cubicBezTo>
                    <a:pt x="47903" y="11490"/>
                    <a:pt x="47865" y="11490"/>
                    <a:pt x="47828" y="11491"/>
                  </a:cubicBezTo>
                  <a:cubicBezTo>
                    <a:pt x="46459" y="11539"/>
                    <a:pt x="45292" y="12301"/>
                    <a:pt x="44661" y="13396"/>
                  </a:cubicBezTo>
                  <a:cubicBezTo>
                    <a:pt x="44327" y="14004"/>
                    <a:pt x="43673" y="14432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6"/>
                    <a:pt x="39511" y="14576"/>
                  </a:cubicBezTo>
                  <a:cubicBezTo>
                    <a:pt x="38397" y="14576"/>
                    <a:pt x="37480" y="13696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0"/>
                    <a:pt x="33544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5" name="Google Shape;385;p19">
              <a:extLst>
                <a:ext uri="{FF2B5EF4-FFF2-40B4-BE49-F238E27FC236}">
                  <a16:creationId xmlns:a16="http://schemas.microsoft.com/office/drawing/2014/main" id="{7239C8BB-1E2E-F5DD-E42A-A3C2B808DB81}"/>
                </a:ext>
              </a:extLst>
            </p:cNvPr>
            <p:cNvSpPr/>
            <p:nvPr/>
          </p:nvSpPr>
          <p:spPr>
            <a:xfrm>
              <a:off x="933838" y="3261739"/>
              <a:ext cx="177598" cy="256061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7"/>
                    <a:pt x="1" y="2179"/>
                    <a:pt x="1" y="3001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6" name="Google Shape;386;p19">
              <a:extLst>
                <a:ext uri="{FF2B5EF4-FFF2-40B4-BE49-F238E27FC236}">
                  <a16:creationId xmlns:a16="http://schemas.microsoft.com/office/drawing/2014/main" id="{A0DB2FD9-4771-C3C3-C7CE-8291A2AA7B56}"/>
                </a:ext>
              </a:extLst>
            </p:cNvPr>
            <p:cNvSpPr/>
            <p:nvPr/>
          </p:nvSpPr>
          <p:spPr>
            <a:xfrm>
              <a:off x="1071816" y="3005721"/>
              <a:ext cx="1939277" cy="923901"/>
            </a:xfrm>
            <a:custGeom>
              <a:avLst/>
              <a:gdLst/>
              <a:ahLst/>
              <a:cxnLst/>
              <a:rect l="l" t="t" r="r" b="b"/>
              <a:pathLst>
                <a:path w="50710" h="24159" extrusionOk="0">
                  <a:moveTo>
                    <a:pt x="3549" y="1"/>
                  </a:moveTo>
                  <a:cubicBezTo>
                    <a:pt x="1584" y="1"/>
                    <a:pt x="1" y="1596"/>
                    <a:pt x="1" y="3561"/>
                  </a:cubicBezTo>
                  <a:lnTo>
                    <a:pt x="1" y="20610"/>
                  </a:lnTo>
                  <a:cubicBezTo>
                    <a:pt x="1" y="22563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3"/>
                    <a:pt x="36684" y="20610"/>
                  </a:cubicBezTo>
                  <a:lnTo>
                    <a:pt x="36684" y="18670"/>
                  </a:lnTo>
                  <a:cubicBezTo>
                    <a:pt x="36684" y="17550"/>
                    <a:pt x="37600" y="16634"/>
                    <a:pt x="38720" y="16634"/>
                  </a:cubicBezTo>
                  <a:lnTo>
                    <a:pt x="42030" y="16634"/>
                  </a:lnTo>
                  <a:cubicBezTo>
                    <a:pt x="42780" y="16634"/>
                    <a:pt x="43435" y="17039"/>
                    <a:pt x="43792" y="17634"/>
                  </a:cubicBezTo>
                  <a:cubicBezTo>
                    <a:pt x="44447" y="18705"/>
                    <a:pt x="45625" y="19432"/>
                    <a:pt x="46983" y="19432"/>
                  </a:cubicBezTo>
                  <a:cubicBezTo>
                    <a:pt x="49042" y="19432"/>
                    <a:pt x="50709" y="17765"/>
                    <a:pt x="50709" y="15693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3"/>
                    <a:pt x="43792" y="13764"/>
                  </a:cubicBezTo>
                  <a:cubicBezTo>
                    <a:pt x="43435" y="14360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8"/>
                    <a:pt x="36684" y="12728"/>
                  </a:cubicBezTo>
                  <a:lnTo>
                    <a:pt x="36684" y="3561"/>
                  </a:lnTo>
                  <a:cubicBezTo>
                    <a:pt x="36684" y="1596"/>
                    <a:pt x="35088" y="1"/>
                    <a:pt x="33124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387;p19">
              <a:extLst>
                <a:ext uri="{FF2B5EF4-FFF2-40B4-BE49-F238E27FC236}">
                  <a16:creationId xmlns:a16="http://schemas.microsoft.com/office/drawing/2014/main" id="{A9D8ABE3-F548-E553-F7B2-E70F082E0E49}"/>
                </a:ext>
              </a:extLst>
            </p:cNvPr>
            <p:cNvSpPr/>
            <p:nvPr/>
          </p:nvSpPr>
          <p:spPr>
            <a:xfrm>
              <a:off x="2752419" y="3489753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69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69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8" name="Google Shape;388;p19">
              <a:extLst>
                <a:ext uri="{FF2B5EF4-FFF2-40B4-BE49-F238E27FC236}">
                  <a16:creationId xmlns:a16="http://schemas.microsoft.com/office/drawing/2014/main" id="{B705722C-D58B-8B4C-A239-94A6CA47A99A}"/>
                </a:ext>
              </a:extLst>
            </p:cNvPr>
            <p:cNvSpPr/>
            <p:nvPr/>
          </p:nvSpPr>
          <p:spPr>
            <a:xfrm>
              <a:off x="935214" y="3035660"/>
              <a:ext cx="1606414" cy="369104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0"/>
                    <a:pt x="882" y="6894"/>
                  </a:cubicBezTo>
                  <a:cubicBezTo>
                    <a:pt x="1417" y="6358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5"/>
                  </a:cubicBezTo>
                  <a:cubicBezTo>
                    <a:pt x="41815" y="1167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9" name="Google Shape;389;p19">
              <a:extLst>
                <a:ext uri="{FF2B5EF4-FFF2-40B4-BE49-F238E27FC236}">
                  <a16:creationId xmlns:a16="http://schemas.microsoft.com/office/drawing/2014/main" id="{C03FCBF4-C92F-D037-140C-8C80B44B94E9}"/>
                </a:ext>
              </a:extLst>
            </p:cNvPr>
            <p:cNvSpPr/>
            <p:nvPr/>
          </p:nvSpPr>
          <p:spPr>
            <a:xfrm>
              <a:off x="935214" y="3005729"/>
              <a:ext cx="1606414" cy="383794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68"/>
                    <a:pt x="1" y="3001"/>
                  </a:cubicBezTo>
                  <a:lnTo>
                    <a:pt x="1" y="9014"/>
                  </a:lnTo>
                  <a:cubicBezTo>
                    <a:pt x="1" y="8192"/>
                    <a:pt x="334" y="7430"/>
                    <a:pt x="882" y="6895"/>
                  </a:cubicBezTo>
                  <a:cubicBezTo>
                    <a:pt x="1417" y="6347"/>
                    <a:pt x="2168" y="6014"/>
                    <a:pt x="3001" y="6014"/>
                  </a:cubicBezTo>
                  <a:lnTo>
                    <a:pt x="39006" y="6014"/>
                  </a:lnTo>
                  <a:cubicBezTo>
                    <a:pt x="40660" y="6014"/>
                    <a:pt x="42006" y="4668"/>
                    <a:pt x="42006" y="3001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60" name="Google Shape;390;p19">
              <a:extLst>
                <a:ext uri="{FF2B5EF4-FFF2-40B4-BE49-F238E27FC236}">
                  <a16:creationId xmlns:a16="http://schemas.microsoft.com/office/drawing/2014/main" id="{EC0BD778-21B1-0382-06E7-2622FA4F4F7D}"/>
                </a:ext>
              </a:extLst>
            </p:cNvPr>
            <p:cNvSpPr txBox="1"/>
            <p:nvPr/>
          </p:nvSpPr>
          <p:spPr>
            <a:xfrm>
              <a:off x="1081172" y="333811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Generate output and decode it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pic>
        <p:nvPicPr>
          <p:cNvPr id="4" name="Graphic 3" descr="Checkmark">
            <a:extLst>
              <a:ext uri="{FF2B5EF4-FFF2-40B4-BE49-F238E27FC236}">
                <a16:creationId xmlns:a16="http://schemas.microsoft.com/office/drawing/2014/main" id="{6C2D96A3-663B-7254-D1E2-6BC2975959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06748" y="2277735"/>
            <a:ext cx="213785" cy="213785"/>
          </a:xfrm>
          <a:prstGeom prst="rect">
            <a:avLst/>
          </a:prstGeom>
        </p:spPr>
      </p:pic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05066136-C1FC-6428-9725-04D7379E3F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07303" y="1653160"/>
            <a:ext cx="213785" cy="213785"/>
          </a:xfrm>
          <a:prstGeom prst="rect">
            <a:avLst/>
          </a:prstGeom>
        </p:spPr>
      </p:pic>
      <p:pic>
        <p:nvPicPr>
          <p:cNvPr id="67" name="Graphic 66" descr="Checkmark">
            <a:extLst>
              <a:ext uri="{FF2B5EF4-FFF2-40B4-BE49-F238E27FC236}">
                <a16:creationId xmlns:a16="http://schemas.microsoft.com/office/drawing/2014/main" id="{D58615FF-573A-ED2B-F306-AA9709D758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05534" y="1040560"/>
            <a:ext cx="213785" cy="213785"/>
          </a:xfrm>
          <a:prstGeom prst="rect">
            <a:avLst/>
          </a:prstGeom>
        </p:spPr>
      </p:pic>
      <p:sp>
        <p:nvSpPr>
          <p:cNvPr id="63" name="Google Shape;364;p19">
            <a:extLst>
              <a:ext uri="{FF2B5EF4-FFF2-40B4-BE49-F238E27FC236}">
                <a16:creationId xmlns:a16="http://schemas.microsoft.com/office/drawing/2014/main" id="{88F44484-D27C-18D7-50FF-FDEE55D007AC}"/>
              </a:ext>
            </a:extLst>
          </p:cNvPr>
          <p:cNvSpPr txBox="1"/>
          <p:nvPr/>
        </p:nvSpPr>
        <p:spPr>
          <a:xfrm>
            <a:off x="6846175" y="1144475"/>
            <a:ext cx="157998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Preprocess Data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sp>
        <p:nvSpPr>
          <p:cNvPr id="65" name="Google Shape;391;p19">
            <a:extLst>
              <a:ext uri="{FF2B5EF4-FFF2-40B4-BE49-F238E27FC236}">
                <a16:creationId xmlns:a16="http://schemas.microsoft.com/office/drawing/2014/main" id="{0D15050C-ECCE-BD88-3853-B3EEDA3E6A52}"/>
              </a:ext>
            </a:extLst>
          </p:cNvPr>
          <p:cNvSpPr txBox="1"/>
          <p:nvPr/>
        </p:nvSpPr>
        <p:spPr>
          <a:xfrm>
            <a:off x="4520839" y="3012821"/>
            <a:ext cx="174725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Generate + Decode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pic>
        <p:nvPicPr>
          <p:cNvPr id="61" name="Graphic 60" descr="Warning">
            <a:extLst>
              <a:ext uri="{FF2B5EF4-FFF2-40B4-BE49-F238E27FC236}">
                <a16:creationId xmlns:a16="http://schemas.microsoft.com/office/drawing/2014/main" id="{89DD6D86-981D-586A-49D3-C298080FFB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15947" y="2875886"/>
            <a:ext cx="205693" cy="205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846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02364" y="1464421"/>
            <a:ext cx="3578191" cy="32866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/>
                <a:cs typeface="Arial"/>
              </a:rPr>
              <a:t>Generate + Decode</a:t>
            </a:r>
            <a:endParaRPr lang="en-US" dirty="0"/>
          </a:p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Success in generating text output using the </a:t>
            </a:r>
            <a:r>
              <a:rPr lang="en-US" sz="1200" b="0" i="1" dirty="0">
                <a:latin typeface="Arial"/>
                <a:cs typeface="Arial"/>
              </a:rPr>
              <a:t>pre-trained</a:t>
            </a:r>
            <a:r>
              <a:rPr lang="en-US" sz="1200" b="0" dirty="0">
                <a:latin typeface="Arial"/>
                <a:cs typeface="Arial"/>
              </a:rPr>
              <a:t> model</a:t>
            </a:r>
          </a:p>
          <a:p>
            <a:pPr>
              <a:buSzPct val="150000"/>
            </a:pPr>
            <a:endParaRPr lang="en-US" sz="400" b="0" dirty="0">
              <a:latin typeface="Arial"/>
              <a:cs typeface="Arial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This leaves the training loop as the only remaining obstacle to generate Python code for a given prompt</a:t>
            </a:r>
          </a:p>
          <a:p>
            <a:pPr>
              <a:buSzPct val="150000"/>
            </a:pPr>
            <a:endParaRPr lang="en-US" sz="700" b="0" dirty="0">
              <a:latin typeface="Arial"/>
              <a:cs typeface="Arial"/>
            </a:endParaRPr>
          </a:p>
          <a:p>
            <a:pPr>
              <a:buSzPct val="150000"/>
            </a:pPr>
            <a:r>
              <a:rPr lang="en-US" sz="1200" dirty="0">
                <a:latin typeface="Arial"/>
                <a:cs typeface="Arial"/>
              </a:rPr>
              <a:t>Example Input</a:t>
            </a:r>
          </a:p>
          <a:p>
            <a:r>
              <a:rPr lang="en-US" sz="300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</a:p>
          <a:p>
            <a:r>
              <a:rPr lang="en-US" sz="1200" b="0" dirty="0">
                <a:latin typeface="Consolas"/>
                <a:cs typeface="Arial"/>
              </a:rPr>
              <a:t># write python code that creates a dictionary...</a:t>
            </a:r>
          </a:p>
          <a:p>
            <a:endParaRPr lang="en-US" sz="700" b="0" dirty="0">
              <a:latin typeface="Consolas"/>
              <a:cs typeface="Arial"/>
            </a:endParaRPr>
          </a:p>
          <a:p>
            <a:r>
              <a:rPr lang="en-US" sz="1200" dirty="0">
                <a:latin typeface="Arial"/>
                <a:cs typeface="Arial"/>
              </a:rPr>
              <a:t>Example Output</a:t>
            </a:r>
          </a:p>
          <a:p>
            <a:r>
              <a:rPr lang="en-US" sz="300" dirty="0">
                <a:solidFill>
                  <a:schemeClr val="bg1"/>
                </a:solidFill>
                <a:latin typeface="Arial"/>
                <a:cs typeface="Arial"/>
              </a:rPr>
              <a:t>s</a:t>
            </a:r>
          </a:p>
          <a:p>
            <a:r>
              <a:rPr lang="en-US" sz="1200" b="0" dirty="0">
                <a:latin typeface="Consolas"/>
                <a:cs typeface="Arial"/>
              </a:rPr>
              <a:t>..., so if you run in an environment using the Python language, we will see something similar.</a:t>
            </a:r>
            <a:endParaRPr lang="en-US" sz="1200" dirty="0">
              <a:latin typeface="Consolas"/>
              <a:cs typeface="Arial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5.1</a:t>
            </a:r>
          </a:p>
        </p:txBody>
      </p:sp>
      <p:sp>
        <p:nvSpPr>
          <p:cNvPr id="6" name="Google Shape;336;p19">
            <a:extLst>
              <a:ext uri="{FF2B5EF4-FFF2-40B4-BE49-F238E27FC236}">
                <a16:creationId xmlns:a16="http://schemas.microsoft.com/office/drawing/2014/main" id="{3A46E835-1E6D-22F7-161E-6E2B33500B1E}"/>
              </a:ext>
            </a:extLst>
          </p:cNvPr>
          <p:cNvSpPr/>
          <p:nvPr/>
        </p:nvSpPr>
        <p:spPr>
          <a:xfrm>
            <a:off x="6495888" y="-30149"/>
            <a:ext cx="46774" cy="5203797"/>
          </a:xfrm>
          <a:custGeom>
            <a:avLst/>
            <a:gdLst/>
            <a:ahLst/>
            <a:cxnLst/>
            <a:rect l="l" t="t" r="r" b="b"/>
            <a:pathLst>
              <a:path w="1513" h="166415" extrusionOk="0">
                <a:moveTo>
                  <a:pt x="751" y="1"/>
                </a:moveTo>
                <a:cubicBezTo>
                  <a:pt x="346" y="1"/>
                  <a:pt x="1" y="334"/>
                  <a:pt x="1" y="751"/>
                </a:cubicBezTo>
                <a:lnTo>
                  <a:pt x="1" y="165664"/>
                </a:lnTo>
                <a:cubicBezTo>
                  <a:pt x="1" y="166081"/>
                  <a:pt x="334" y="166414"/>
                  <a:pt x="751" y="166414"/>
                </a:cubicBezTo>
                <a:cubicBezTo>
                  <a:pt x="1167" y="166414"/>
                  <a:pt x="1513" y="166081"/>
                  <a:pt x="1513" y="165664"/>
                </a:cubicBezTo>
                <a:lnTo>
                  <a:pt x="1513" y="751"/>
                </a:lnTo>
                <a:cubicBezTo>
                  <a:pt x="1513" y="334"/>
                  <a:pt x="1167" y="1"/>
                  <a:pt x="75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" name="Google Shape;338;p19">
            <a:extLst>
              <a:ext uri="{FF2B5EF4-FFF2-40B4-BE49-F238E27FC236}">
                <a16:creationId xmlns:a16="http://schemas.microsoft.com/office/drawing/2014/main" id="{B074DB79-C097-53BC-5210-BB95DA6E04BF}"/>
              </a:ext>
            </a:extLst>
          </p:cNvPr>
          <p:cNvGrpSpPr/>
          <p:nvPr/>
        </p:nvGrpSpPr>
        <p:grpSpPr>
          <a:xfrm>
            <a:off x="6374003" y="3627360"/>
            <a:ext cx="2078594" cy="979496"/>
            <a:chOff x="2723278" y="3623609"/>
            <a:chExt cx="2078594" cy="979496"/>
          </a:xfrm>
        </p:grpSpPr>
        <p:sp>
          <p:nvSpPr>
            <p:cNvPr id="9" name="Google Shape;339;p19">
              <a:extLst>
                <a:ext uri="{FF2B5EF4-FFF2-40B4-BE49-F238E27FC236}">
                  <a16:creationId xmlns:a16="http://schemas.microsoft.com/office/drawing/2014/main" id="{8925CA10-1110-6665-B945-65EB780010E2}"/>
                </a:ext>
              </a:extLst>
            </p:cNvPr>
            <p:cNvSpPr/>
            <p:nvPr/>
          </p:nvSpPr>
          <p:spPr>
            <a:xfrm>
              <a:off x="2723278" y="3642186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0"/>
                  </a:moveTo>
                  <a:cubicBezTo>
                    <a:pt x="16310" y="0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6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4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50" y="18958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89"/>
                    <a:pt x="8020" y="16325"/>
                    <a:pt x="8743" y="16325"/>
                  </a:cubicBezTo>
                  <a:cubicBezTo>
                    <a:pt x="8765" y="16325"/>
                    <a:pt x="8788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69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6"/>
                    <a:pt x="47570" y="25126"/>
                  </a:cubicBezTo>
                  <a:cubicBezTo>
                    <a:pt x="49509" y="25126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3"/>
                    <a:pt x="50245" y="1050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0"/>
                    <a:pt x="18228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340;p19">
              <a:extLst>
                <a:ext uri="{FF2B5EF4-FFF2-40B4-BE49-F238E27FC236}">
                  <a16:creationId xmlns:a16="http://schemas.microsoft.com/office/drawing/2014/main" id="{0906E6F3-139D-7609-195B-DA03E6A6FD27}"/>
                </a:ext>
              </a:extLst>
            </p:cNvPr>
            <p:cNvSpPr/>
            <p:nvPr/>
          </p:nvSpPr>
          <p:spPr>
            <a:xfrm>
              <a:off x="4624272" y="3879385"/>
              <a:ext cx="177598" cy="256288"/>
            </a:xfrm>
            <a:custGeom>
              <a:avLst/>
              <a:gdLst/>
              <a:ahLst/>
              <a:cxnLst/>
              <a:rect l="l" t="t" r="r" b="b"/>
              <a:pathLst>
                <a:path w="4644" h="6025" extrusionOk="0">
                  <a:moveTo>
                    <a:pt x="0" y="0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3"/>
                  </a:cubicBezTo>
                  <a:cubicBezTo>
                    <a:pt x="3215" y="346"/>
                    <a:pt x="2465" y="0"/>
                    <a:pt x="1643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1" name="Google Shape;341;p19">
              <a:extLst>
                <a:ext uri="{FF2B5EF4-FFF2-40B4-BE49-F238E27FC236}">
                  <a16:creationId xmlns:a16="http://schemas.microsoft.com/office/drawing/2014/main" id="{84C4A120-70DA-A173-FED8-A5998721CA38}"/>
                </a:ext>
              </a:extLst>
            </p:cNvPr>
            <p:cNvSpPr/>
            <p:nvPr/>
          </p:nvSpPr>
          <p:spPr>
            <a:xfrm>
              <a:off x="2725573" y="3624059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0"/>
                  </a:moveTo>
                  <a:cubicBezTo>
                    <a:pt x="15633" y="0"/>
                    <a:pt x="14037" y="1596"/>
                    <a:pt x="14037" y="3548"/>
                  </a:cubicBezTo>
                  <a:lnTo>
                    <a:pt x="14037" y="12716"/>
                  </a:lnTo>
                  <a:cubicBezTo>
                    <a:pt x="14037" y="13847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59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1"/>
                    <a:pt x="3739" y="19431"/>
                  </a:cubicBezTo>
                  <a:cubicBezTo>
                    <a:pt x="5084" y="19431"/>
                    <a:pt x="6275" y="18705"/>
                    <a:pt x="6929" y="17633"/>
                  </a:cubicBezTo>
                  <a:cubicBezTo>
                    <a:pt x="7287" y="17026"/>
                    <a:pt x="7941" y="16633"/>
                    <a:pt x="8692" y="16633"/>
                  </a:cubicBezTo>
                  <a:lnTo>
                    <a:pt x="11990" y="16633"/>
                  </a:lnTo>
                  <a:cubicBezTo>
                    <a:pt x="13121" y="16633"/>
                    <a:pt x="14037" y="17538"/>
                    <a:pt x="14037" y="18669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48"/>
                  </a:lnTo>
                  <a:cubicBezTo>
                    <a:pt x="50721" y="1596"/>
                    <a:pt x="49137" y="0"/>
                    <a:pt x="47173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2" name="Google Shape;342;p19">
              <a:extLst>
                <a:ext uri="{FF2B5EF4-FFF2-40B4-BE49-F238E27FC236}">
                  <a16:creationId xmlns:a16="http://schemas.microsoft.com/office/drawing/2014/main" id="{B834AEBE-67E0-14A7-CC93-C735E7163B8D}"/>
                </a:ext>
              </a:extLst>
            </p:cNvPr>
            <p:cNvSpPr/>
            <p:nvPr/>
          </p:nvSpPr>
          <p:spPr>
            <a:xfrm>
              <a:off x="2752419" y="410805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3" name="Google Shape;343;p19">
              <a:extLst>
                <a:ext uri="{FF2B5EF4-FFF2-40B4-BE49-F238E27FC236}">
                  <a16:creationId xmlns:a16="http://schemas.microsoft.com/office/drawing/2014/main" id="{86409286-4934-7671-5489-252DF7A4ED49}"/>
                </a:ext>
              </a:extLst>
            </p:cNvPr>
            <p:cNvSpPr/>
            <p:nvPr/>
          </p:nvSpPr>
          <p:spPr>
            <a:xfrm>
              <a:off x="3195458" y="3654023"/>
              <a:ext cx="1606414" cy="368715"/>
            </a:xfrm>
            <a:custGeom>
              <a:avLst/>
              <a:gdLst/>
              <a:ahLst/>
              <a:cxnLst/>
              <a:rect l="l" t="t" r="r" b="b"/>
              <a:pathLst>
                <a:path w="42006" h="8668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4"/>
                    <a:pt x="0" y="2893"/>
                    <a:pt x="0" y="3012"/>
                  </a:cubicBezTo>
                  <a:cubicBezTo>
                    <a:pt x="0" y="4667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7"/>
                    <a:pt x="41982" y="8668"/>
                  </a:cubicBezTo>
                  <a:lnTo>
                    <a:pt x="42005" y="8311"/>
                  </a:lnTo>
                  <a:lnTo>
                    <a:pt x="42005" y="3012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5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344;p19">
              <a:extLst>
                <a:ext uri="{FF2B5EF4-FFF2-40B4-BE49-F238E27FC236}">
                  <a16:creationId xmlns:a16="http://schemas.microsoft.com/office/drawing/2014/main" id="{92DFED7A-21BD-E3D5-1B8A-CDD2DECD66BC}"/>
                </a:ext>
              </a:extLst>
            </p:cNvPr>
            <p:cNvSpPr/>
            <p:nvPr/>
          </p:nvSpPr>
          <p:spPr>
            <a:xfrm>
              <a:off x="3195458" y="3623609"/>
              <a:ext cx="1606414" cy="383943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59"/>
                    <a:pt x="41124" y="6906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29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5" name="Google Shape;345;p19">
              <a:extLst>
                <a:ext uri="{FF2B5EF4-FFF2-40B4-BE49-F238E27FC236}">
                  <a16:creationId xmlns:a16="http://schemas.microsoft.com/office/drawing/2014/main" id="{6CD84315-A122-FEF7-7737-0C5BC7B7AE70}"/>
                </a:ext>
              </a:extLst>
            </p:cNvPr>
            <p:cNvSpPr txBox="1"/>
            <p:nvPr/>
          </p:nvSpPr>
          <p:spPr>
            <a:xfrm>
              <a:off x="3265722" y="3955988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ke sure output solves prompts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6" name="Google Shape;346;p19">
              <a:extLst>
                <a:ext uri="{FF2B5EF4-FFF2-40B4-BE49-F238E27FC236}">
                  <a16:creationId xmlns:a16="http://schemas.microsoft.com/office/drawing/2014/main" id="{61BEBF24-5F49-AB7A-15D1-508CEE6C9DD8}"/>
                </a:ext>
              </a:extLst>
            </p:cNvPr>
            <p:cNvSpPr txBox="1"/>
            <p:nvPr/>
          </p:nvSpPr>
          <p:spPr>
            <a:xfrm>
              <a:off x="3195450" y="36238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est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17" name="Google Shape;347;p19">
            <a:extLst>
              <a:ext uri="{FF2B5EF4-FFF2-40B4-BE49-F238E27FC236}">
                <a16:creationId xmlns:a16="http://schemas.microsoft.com/office/drawing/2014/main" id="{2C78506E-A503-BD61-6D94-1C8F5486D44E}"/>
              </a:ext>
            </a:extLst>
          </p:cNvPr>
          <p:cNvGrpSpPr/>
          <p:nvPr/>
        </p:nvGrpSpPr>
        <p:grpSpPr>
          <a:xfrm>
            <a:off x="6374003" y="2391176"/>
            <a:ext cx="2078594" cy="979041"/>
            <a:chOff x="2723278" y="2387425"/>
            <a:chExt cx="2078594" cy="979041"/>
          </a:xfrm>
        </p:grpSpPr>
        <p:sp>
          <p:nvSpPr>
            <p:cNvPr id="18" name="Google Shape;348;p19">
              <a:extLst>
                <a:ext uri="{FF2B5EF4-FFF2-40B4-BE49-F238E27FC236}">
                  <a16:creationId xmlns:a16="http://schemas.microsoft.com/office/drawing/2014/main" id="{18E69FBC-3E13-2EE9-8FB7-B3FCF4AA8B04}"/>
                </a:ext>
              </a:extLst>
            </p:cNvPr>
            <p:cNvSpPr/>
            <p:nvPr/>
          </p:nvSpPr>
          <p:spPr>
            <a:xfrm>
              <a:off x="2723278" y="240554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49" y="1"/>
                  </a:moveTo>
                  <a:cubicBezTo>
                    <a:pt x="16321" y="1"/>
                    <a:pt x="14715" y="1515"/>
                    <a:pt x="14657" y="3431"/>
                  </a:cubicBezTo>
                  <a:lnTo>
                    <a:pt x="14348" y="12599"/>
                  </a:lnTo>
                  <a:cubicBezTo>
                    <a:pt x="14312" y="13708"/>
                    <a:pt x="13396" y="14577"/>
                    <a:pt x="12283" y="14577"/>
                  </a:cubicBezTo>
                  <a:cubicBezTo>
                    <a:pt x="12261" y="14577"/>
                    <a:pt x="12239" y="14576"/>
                    <a:pt x="12216" y="14576"/>
                  </a:cubicBezTo>
                  <a:lnTo>
                    <a:pt x="8871" y="14468"/>
                  </a:lnTo>
                  <a:cubicBezTo>
                    <a:pt x="8121" y="14433"/>
                    <a:pt x="7466" y="14016"/>
                    <a:pt x="7132" y="13397"/>
                  </a:cubicBezTo>
                  <a:cubicBezTo>
                    <a:pt x="6501" y="12301"/>
                    <a:pt x="5334" y="11539"/>
                    <a:pt x="3965" y="11504"/>
                  </a:cubicBezTo>
                  <a:cubicBezTo>
                    <a:pt x="3921" y="11502"/>
                    <a:pt x="3876" y="11501"/>
                    <a:pt x="3832" y="11501"/>
                  </a:cubicBezTo>
                  <a:cubicBezTo>
                    <a:pt x="1807" y="11501"/>
                    <a:pt x="130" y="13084"/>
                    <a:pt x="60" y="15099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60" y="18959"/>
                    <a:pt x="3806" y="18959"/>
                    <a:pt x="3850" y="18959"/>
                  </a:cubicBezTo>
                  <a:cubicBezTo>
                    <a:pt x="5164" y="18959"/>
                    <a:pt x="6322" y="18291"/>
                    <a:pt x="7001" y="17266"/>
                  </a:cubicBezTo>
                  <a:cubicBezTo>
                    <a:pt x="7371" y="16700"/>
                    <a:pt x="8021" y="16325"/>
                    <a:pt x="8745" y="16325"/>
                  </a:cubicBezTo>
                  <a:cubicBezTo>
                    <a:pt x="8767" y="16325"/>
                    <a:pt x="8789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21"/>
                    <a:pt x="14157" y="18540"/>
                  </a:cubicBezTo>
                  <a:lnTo>
                    <a:pt x="14097" y="20481"/>
                  </a:lnTo>
                  <a:cubicBezTo>
                    <a:pt x="14026" y="22434"/>
                    <a:pt x="15586" y="24077"/>
                    <a:pt x="17562" y="24148"/>
                  </a:cubicBezTo>
                  <a:lnTo>
                    <a:pt x="47459" y="25124"/>
                  </a:lnTo>
                  <a:cubicBezTo>
                    <a:pt x="47503" y="25126"/>
                    <a:pt x="47548" y="25127"/>
                    <a:pt x="47592" y="25127"/>
                  </a:cubicBezTo>
                  <a:cubicBezTo>
                    <a:pt x="49520" y="25127"/>
                    <a:pt x="51104" y="23616"/>
                    <a:pt x="51174" y="21695"/>
                  </a:cubicBezTo>
                  <a:lnTo>
                    <a:pt x="51733" y="4658"/>
                  </a:lnTo>
                  <a:cubicBezTo>
                    <a:pt x="51793" y="2693"/>
                    <a:pt x="50245" y="1050"/>
                    <a:pt x="48257" y="991"/>
                  </a:cubicBezTo>
                  <a:lnTo>
                    <a:pt x="18360" y="2"/>
                  </a:lnTo>
                  <a:cubicBezTo>
                    <a:pt x="18323" y="1"/>
                    <a:pt x="18286" y="1"/>
                    <a:pt x="18249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349;p19">
              <a:extLst>
                <a:ext uri="{FF2B5EF4-FFF2-40B4-BE49-F238E27FC236}">
                  <a16:creationId xmlns:a16="http://schemas.microsoft.com/office/drawing/2014/main" id="{010DEEC5-A79E-ABDD-11EB-A0B695831937}"/>
                </a:ext>
              </a:extLst>
            </p:cNvPr>
            <p:cNvSpPr/>
            <p:nvPr/>
          </p:nvSpPr>
          <p:spPr>
            <a:xfrm>
              <a:off x="4624272" y="264341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0" y="1"/>
                  </a:moveTo>
                  <a:lnTo>
                    <a:pt x="0" y="6014"/>
                  </a:lnTo>
                  <a:lnTo>
                    <a:pt x="1643" y="6014"/>
                  </a:lnTo>
                  <a:cubicBezTo>
                    <a:pt x="3298" y="6014"/>
                    <a:pt x="4643" y="4668"/>
                    <a:pt x="4643" y="3001"/>
                  </a:cubicBezTo>
                  <a:cubicBezTo>
                    <a:pt x="4643" y="2180"/>
                    <a:pt x="4310" y="1430"/>
                    <a:pt x="3762" y="882"/>
                  </a:cubicBezTo>
                  <a:cubicBezTo>
                    <a:pt x="3215" y="334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0" name="Google Shape;350;p19">
              <a:extLst>
                <a:ext uri="{FF2B5EF4-FFF2-40B4-BE49-F238E27FC236}">
                  <a16:creationId xmlns:a16="http://schemas.microsoft.com/office/drawing/2014/main" id="{C0386103-0374-8EAA-D897-EB6A769E0CE7}"/>
                </a:ext>
              </a:extLst>
            </p:cNvPr>
            <p:cNvSpPr/>
            <p:nvPr/>
          </p:nvSpPr>
          <p:spPr>
            <a:xfrm>
              <a:off x="2725573" y="2387840"/>
              <a:ext cx="1939698" cy="923442"/>
            </a:xfrm>
            <a:custGeom>
              <a:avLst/>
              <a:gdLst/>
              <a:ahLst/>
              <a:cxnLst/>
              <a:rect l="l" t="t" r="r" b="b"/>
              <a:pathLst>
                <a:path w="50721" h="24147" extrusionOk="0">
                  <a:moveTo>
                    <a:pt x="17597" y="1"/>
                  </a:moveTo>
                  <a:cubicBezTo>
                    <a:pt x="15633" y="1"/>
                    <a:pt x="14037" y="1585"/>
                    <a:pt x="14037" y="3549"/>
                  </a:cubicBezTo>
                  <a:lnTo>
                    <a:pt x="14037" y="12717"/>
                  </a:lnTo>
                  <a:cubicBezTo>
                    <a:pt x="14037" y="13848"/>
                    <a:pt x="13121" y="14765"/>
                    <a:pt x="11990" y="14765"/>
                  </a:cubicBezTo>
                  <a:lnTo>
                    <a:pt x="8692" y="14765"/>
                  </a:lnTo>
                  <a:cubicBezTo>
                    <a:pt x="7941" y="14765"/>
                    <a:pt x="7287" y="14360"/>
                    <a:pt x="6929" y="13753"/>
                  </a:cubicBezTo>
                  <a:cubicBezTo>
                    <a:pt x="6275" y="12681"/>
                    <a:pt x="5084" y="11955"/>
                    <a:pt x="3739" y="11955"/>
                  </a:cubicBezTo>
                  <a:cubicBezTo>
                    <a:pt x="1679" y="11955"/>
                    <a:pt x="0" y="13634"/>
                    <a:pt x="0" y="15693"/>
                  </a:cubicBezTo>
                  <a:cubicBezTo>
                    <a:pt x="0" y="17753"/>
                    <a:pt x="1679" y="19420"/>
                    <a:pt x="3739" y="19420"/>
                  </a:cubicBezTo>
                  <a:cubicBezTo>
                    <a:pt x="5084" y="19420"/>
                    <a:pt x="6275" y="18706"/>
                    <a:pt x="6929" y="17622"/>
                  </a:cubicBezTo>
                  <a:cubicBezTo>
                    <a:pt x="7287" y="17027"/>
                    <a:pt x="7941" y="16622"/>
                    <a:pt x="8692" y="16622"/>
                  </a:cubicBezTo>
                  <a:lnTo>
                    <a:pt x="11990" y="16622"/>
                  </a:lnTo>
                  <a:cubicBezTo>
                    <a:pt x="13121" y="16622"/>
                    <a:pt x="14037" y="17539"/>
                    <a:pt x="14037" y="18670"/>
                  </a:cubicBezTo>
                  <a:lnTo>
                    <a:pt x="14037" y="20599"/>
                  </a:lnTo>
                  <a:cubicBezTo>
                    <a:pt x="14037" y="22551"/>
                    <a:pt x="15633" y="24147"/>
                    <a:pt x="17597" y="24147"/>
                  </a:cubicBezTo>
                  <a:lnTo>
                    <a:pt x="47173" y="24147"/>
                  </a:lnTo>
                  <a:cubicBezTo>
                    <a:pt x="49137" y="24147"/>
                    <a:pt x="50721" y="22551"/>
                    <a:pt x="50721" y="20599"/>
                  </a:cubicBezTo>
                  <a:lnTo>
                    <a:pt x="50721" y="3549"/>
                  </a:lnTo>
                  <a:cubicBezTo>
                    <a:pt x="50721" y="1585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1" name="Google Shape;351;p19">
              <a:extLst>
                <a:ext uri="{FF2B5EF4-FFF2-40B4-BE49-F238E27FC236}">
                  <a16:creationId xmlns:a16="http://schemas.microsoft.com/office/drawing/2014/main" id="{0F9E0DF7-73DD-BD0E-B8EF-9C7B360CAD62}"/>
                </a:ext>
              </a:extLst>
            </p:cNvPr>
            <p:cNvSpPr/>
            <p:nvPr/>
          </p:nvSpPr>
          <p:spPr>
            <a:xfrm>
              <a:off x="2752419" y="287187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0"/>
                  </a:moveTo>
                  <a:cubicBezTo>
                    <a:pt x="1358" y="0"/>
                    <a:pt x="0" y="1358"/>
                    <a:pt x="0" y="3036"/>
                  </a:cubicBezTo>
                  <a:cubicBezTo>
                    <a:pt x="0" y="4715"/>
                    <a:pt x="1358" y="6072"/>
                    <a:pt x="3037" y="6072"/>
                  </a:cubicBezTo>
                  <a:cubicBezTo>
                    <a:pt x="4715" y="6072"/>
                    <a:pt x="6073" y="4715"/>
                    <a:pt x="6073" y="3036"/>
                  </a:cubicBezTo>
                  <a:cubicBezTo>
                    <a:pt x="6073" y="1358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352;p19">
              <a:extLst>
                <a:ext uri="{FF2B5EF4-FFF2-40B4-BE49-F238E27FC236}">
                  <a16:creationId xmlns:a16="http://schemas.microsoft.com/office/drawing/2014/main" id="{BE1E2195-21A6-BB86-3C83-F18FD79DF686}"/>
                </a:ext>
              </a:extLst>
            </p:cNvPr>
            <p:cNvSpPr/>
            <p:nvPr/>
          </p:nvSpPr>
          <p:spPr>
            <a:xfrm>
              <a:off x="3195458" y="241731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1465" y="1"/>
                    <a:pt x="191" y="1168"/>
                    <a:pt x="12" y="2656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80"/>
                    <a:pt x="1346" y="6025"/>
                    <a:pt x="3001" y="6025"/>
                  </a:cubicBezTo>
                  <a:lnTo>
                    <a:pt x="39005" y="6025"/>
                  </a:lnTo>
                  <a:cubicBezTo>
                    <a:pt x="39827" y="6025"/>
                    <a:pt x="40589" y="6359"/>
                    <a:pt x="41124" y="6906"/>
                  </a:cubicBezTo>
                  <a:cubicBezTo>
                    <a:pt x="41589" y="7371"/>
                    <a:pt x="41898" y="7990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92"/>
                    <a:pt x="41672" y="1430"/>
                    <a:pt x="41124" y="894"/>
                  </a:cubicBezTo>
                  <a:cubicBezTo>
                    <a:pt x="40589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3" name="Google Shape;353;p19">
              <a:extLst>
                <a:ext uri="{FF2B5EF4-FFF2-40B4-BE49-F238E27FC236}">
                  <a16:creationId xmlns:a16="http://schemas.microsoft.com/office/drawing/2014/main" id="{43A4A958-CE97-F05E-A352-0D4F34078236}"/>
                </a:ext>
              </a:extLst>
            </p:cNvPr>
            <p:cNvSpPr/>
            <p:nvPr/>
          </p:nvSpPr>
          <p:spPr>
            <a:xfrm>
              <a:off x="3195458" y="2387428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1346" y="0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46"/>
                    <a:pt x="41124" y="6894"/>
                  </a:cubicBezTo>
                  <a:cubicBezTo>
                    <a:pt x="41672" y="7442"/>
                    <a:pt x="42005" y="8192"/>
                    <a:pt x="42005" y="9013"/>
                  </a:cubicBez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77" y="334"/>
                    <a:pt x="39827" y="0"/>
                    <a:pt x="39005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4" name="Google Shape;354;p19">
              <a:extLst>
                <a:ext uri="{FF2B5EF4-FFF2-40B4-BE49-F238E27FC236}">
                  <a16:creationId xmlns:a16="http://schemas.microsoft.com/office/drawing/2014/main" id="{166320F0-CCB3-F892-39B4-120280EC6791}"/>
                </a:ext>
              </a:extLst>
            </p:cNvPr>
            <p:cNvSpPr txBox="1"/>
            <p:nvPr/>
          </p:nvSpPr>
          <p:spPr>
            <a:xfrm>
              <a:off x="3265722" y="271575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rain model with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25" name="Google Shape;355;p19">
              <a:extLst>
                <a:ext uri="{FF2B5EF4-FFF2-40B4-BE49-F238E27FC236}">
                  <a16:creationId xmlns:a16="http://schemas.microsoft.com/office/drawing/2014/main" id="{0AB07A8E-6132-3718-E204-6EC03DB0058F}"/>
                </a:ext>
              </a:extLst>
            </p:cNvPr>
            <p:cNvSpPr txBox="1"/>
            <p:nvPr/>
          </p:nvSpPr>
          <p:spPr>
            <a:xfrm>
              <a:off x="3195450" y="23874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rain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26" name="Google Shape;356;p19">
            <a:extLst>
              <a:ext uri="{FF2B5EF4-FFF2-40B4-BE49-F238E27FC236}">
                <a16:creationId xmlns:a16="http://schemas.microsoft.com/office/drawing/2014/main" id="{363CB442-5B41-9EA5-3609-0A6BFB101BCF}"/>
              </a:ext>
            </a:extLst>
          </p:cNvPr>
          <p:cNvGrpSpPr/>
          <p:nvPr/>
        </p:nvGrpSpPr>
        <p:grpSpPr>
          <a:xfrm>
            <a:off x="6374003" y="1154501"/>
            <a:ext cx="2078594" cy="979497"/>
            <a:chOff x="2723278" y="1150750"/>
            <a:chExt cx="2078594" cy="979497"/>
          </a:xfrm>
        </p:grpSpPr>
        <p:sp>
          <p:nvSpPr>
            <p:cNvPr id="27" name="Google Shape;357;p19">
              <a:extLst>
                <a:ext uri="{FF2B5EF4-FFF2-40B4-BE49-F238E27FC236}">
                  <a16:creationId xmlns:a16="http://schemas.microsoft.com/office/drawing/2014/main" id="{EE00E48D-BEF0-D033-3ED3-3FA5486E19CE}"/>
                </a:ext>
              </a:extLst>
            </p:cNvPr>
            <p:cNvSpPr/>
            <p:nvPr/>
          </p:nvSpPr>
          <p:spPr>
            <a:xfrm>
              <a:off x="2723278" y="1169328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1"/>
                  </a:moveTo>
                  <a:cubicBezTo>
                    <a:pt x="16310" y="1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7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5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60"/>
                    <a:pt x="1632" y="18886"/>
                    <a:pt x="3715" y="18958"/>
                  </a:cubicBezTo>
                  <a:cubicBezTo>
                    <a:pt x="3750" y="18959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90"/>
                    <a:pt x="8020" y="16325"/>
                    <a:pt x="8743" y="16325"/>
                  </a:cubicBezTo>
                  <a:cubicBezTo>
                    <a:pt x="8765" y="16325"/>
                    <a:pt x="8788" y="16326"/>
                    <a:pt x="8811" y="16326"/>
                  </a:cubicBezTo>
                  <a:lnTo>
                    <a:pt x="12157" y="16434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70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7"/>
                    <a:pt x="47570" y="25127"/>
                  </a:cubicBezTo>
                  <a:cubicBezTo>
                    <a:pt x="49509" y="25127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4"/>
                    <a:pt x="50245" y="1051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1"/>
                    <a:pt x="18228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358;p19">
              <a:extLst>
                <a:ext uri="{FF2B5EF4-FFF2-40B4-BE49-F238E27FC236}">
                  <a16:creationId xmlns:a16="http://schemas.microsoft.com/office/drawing/2014/main" id="{4C45B391-0EBD-FBC1-E89D-BC4A3C61C49C}"/>
                </a:ext>
              </a:extLst>
            </p:cNvPr>
            <p:cNvSpPr/>
            <p:nvPr/>
          </p:nvSpPr>
          <p:spPr>
            <a:xfrm>
              <a:off x="4624272" y="1406505"/>
              <a:ext cx="177598" cy="256316"/>
            </a:xfrm>
            <a:custGeom>
              <a:avLst/>
              <a:gdLst/>
              <a:ahLst/>
              <a:cxnLst/>
              <a:rect l="l" t="t" r="r" b="b"/>
              <a:pathLst>
                <a:path w="4644" h="6026" extrusionOk="0">
                  <a:moveTo>
                    <a:pt x="0" y="1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4"/>
                  </a:cubicBezTo>
                  <a:cubicBezTo>
                    <a:pt x="3215" y="346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9" name="Google Shape;359;p19">
              <a:extLst>
                <a:ext uri="{FF2B5EF4-FFF2-40B4-BE49-F238E27FC236}">
                  <a16:creationId xmlns:a16="http://schemas.microsoft.com/office/drawing/2014/main" id="{735C1EAF-3922-D645-80E5-AF0CF28C0D00}"/>
                </a:ext>
              </a:extLst>
            </p:cNvPr>
            <p:cNvSpPr/>
            <p:nvPr/>
          </p:nvSpPr>
          <p:spPr>
            <a:xfrm>
              <a:off x="2725573" y="1151201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1"/>
                  </a:moveTo>
                  <a:cubicBezTo>
                    <a:pt x="15633" y="1"/>
                    <a:pt x="14037" y="1596"/>
                    <a:pt x="14037" y="3561"/>
                  </a:cubicBezTo>
                  <a:lnTo>
                    <a:pt x="14037" y="12717"/>
                  </a:lnTo>
                  <a:cubicBezTo>
                    <a:pt x="14037" y="13848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60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2"/>
                    <a:pt x="3739" y="19432"/>
                  </a:cubicBezTo>
                  <a:cubicBezTo>
                    <a:pt x="5084" y="19432"/>
                    <a:pt x="6275" y="18705"/>
                    <a:pt x="6929" y="17634"/>
                  </a:cubicBezTo>
                  <a:cubicBezTo>
                    <a:pt x="7287" y="17027"/>
                    <a:pt x="7941" y="16634"/>
                    <a:pt x="8692" y="16634"/>
                  </a:cubicBezTo>
                  <a:lnTo>
                    <a:pt x="11990" y="16634"/>
                  </a:lnTo>
                  <a:cubicBezTo>
                    <a:pt x="13121" y="16634"/>
                    <a:pt x="14037" y="17539"/>
                    <a:pt x="14037" y="18670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61"/>
                  </a:lnTo>
                  <a:cubicBezTo>
                    <a:pt x="50721" y="1596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0" name="Google Shape;360;p19">
              <a:extLst>
                <a:ext uri="{FF2B5EF4-FFF2-40B4-BE49-F238E27FC236}">
                  <a16:creationId xmlns:a16="http://schemas.microsoft.com/office/drawing/2014/main" id="{B0250220-4F43-94EC-5479-D17FB1FEAF20}"/>
                </a:ext>
              </a:extLst>
            </p:cNvPr>
            <p:cNvSpPr/>
            <p:nvPr/>
          </p:nvSpPr>
          <p:spPr>
            <a:xfrm>
              <a:off x="2752419" y="1635195"/>
              <a:ext cx="232247" cy="232285"/>
            </a:xfrm>
            <a:custGeom>
              <a:avLst/>
              <a:gdLst/>
              <a:ahLst/>
              <a:cxnLst/>
              <a:rect l="l" t="t" r="r" b="b"/>
              <a:pathLst>
                <a:path w="6073" h="6074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1" name="Google Shape;361;p19">
              <a:extLst>
                <a:ext uri="{FF2B5EF4-FFF2-40B4-BE49-F238E27FC236}">
                  <a16:creationId xmlns:a16="http://schemas.microsoft.com/office/drawing/2014/main" id="{B9C2E377-FBB7-BACE-D669-75B840CC9687}"/>
                </a:ext>
              </a:extLst>
            </p:cNvPr>
            <p:cNvSpPr/>
            <p:nvPr/>
          </p:nvSpPr>
          <p:spPr>
            <a:xfrm>
              <a:off x="3195458" y="1181162"/>
              <a:ext cx="1606414" cy="36873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8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6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2" name="Google Shape;362;p19">
              <a:extLst>
                <a:ext uri="{FF2B5EF4-FFF2-40B4-BE49-F238E27FC236}">
                  <a16:creationId xmlns:a16="http://schemas.microsoft.com/office/drawing/2014/main" id="{4A81ED20-F49E-7F84-EA78-2BF1B239E57E}"/>
                </a:ext>
              </a:extLst>
            </p:cNvPr>
            <p:cNvSpPr/>
            <p:nvPr/>
          </p:nvSpPr>
          <p:spPr>
            <a:xfrm>
              <a:off x="3195458" y="1150750"/>
              <a:ext cx="1606414" cy="383921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4"/>
                    <a:pt x="3001" y="6014"/>
                  </a:cubicBezTo>
                  <a:lnTo>
                    <a:pt x="39005" y="6014"/>
                  </a:lnTo>
                  <a:cubicBezTo>
                    <a:pt x="39827" y="6014"/>
                    <a:pt x="40577" y="6359"/>
                    <a:pt x="41124" y="6907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30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3" name="Google Shape;363;p19">
              <a:extLst>
                <a:ext uri="{FF2B5EF4-FFF2-40B4-BE49-F238E27FC236}">
                  <a16:creationId xmlns:a16="http://schemas.microsoft.com/office/drawing/2014/main" id="{BC794B05-5D85-8D8E-35E9-689E5F6C33FA}"/>
                </a:ext>
              </a:extLst>
            </p:cNvPr>
            <p:cNvSpPr txBox="1"/>
            <p:nvPr/>
          </p:nvSpPr>
          <p:spPr>
            <a:xfrm>
              <a:off x="3265722" y="147550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Put into data frame as one string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grpSp>
        <p:nvGrpSpPr>
          <p:cNvPr id="35" name="Google Shape;365;p19">
            <a:extLst>
              <a:ext uri="{FF2B5EF4-FFF2-40B4-BE49-F238E27FC236}">
                <a16:creationId xmlns:a16="http://schemas.microsoft.com/office/drawing/2014/main" id="{0BADACB9-1085-F688-313B-7C43F818523C}"/>
              </a:ext>
            </a:extLst>
          </p:cNvPr>
          <p:cNvGrpSpPr/>
          <p:nvPr/>
        </p:nvGrpSpPr>
        <p:grpSpPr>
          <a:xfrm>
            <a:off x="4584563" y="536651"/>
            <a:ext cx="2079971" cy="979046"/>
            <a:chOff x="933838" y="532900"/>
            <a:chExt cx="2079971" cy="979046"/>
          </a:xfrm>
        </p:grpSpPr>
        <p:sp>
          <p:nvSpPr>
            <p:cNvPr id="36" name="Google Shape;366;p19">
              <a:extLst>
                <a:ext uri="{FF2B5EF4-FFF2-40B4-BE49-F238E27FC236}">
                  <a16:creationId xmlns:a16="http://schemas.microsoft.com/office/drawing/2014/main" id="{AEAFFB94-29F2-E5C1-D5BD-8F27940CD915}"/>
                </a:ext>
              </a:extLst>
            </p:cNvPr>
            <p:cNvSpPr/>
            <p:nvPr/>
          </p:nvSpPr>
          <p:spPr>
            <a:xfrm>
              <a:off x="1033115" y="55102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33544" y="1"/>
                  </a:moveTo>
                  <a:cubicBezTo>
                    <a:pt x="33507" y="1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8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6"/>
                    <a:pt x="4322" y="25124"/>
                  </a:cubicBezTo>
                  <a:lnTo>
                    <a:pt x="34231" y="24136"/>
                  </a:lnTo>
                  <a:cubicBezTo>
                    <a:pt x="36207" y="24077"/>
                    <a:pt x="37767" y="22434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26"/>
                  </a:lnTo>
                  <a:cubicBezTo>
                    <a:pt x="43004" y="16325"/>
                    <a:pt x="43026" y="16325"/>
                    <a:pt x="43049" y="16325"/>
                  </a:cubicBezTo>
                  <a:cubicBezTo>
                    <a:pt x="43772" y="16325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9"/>
                    <a:pt x="48078" y="18957"/>
                  </a:cubicBezTo>
                  <a:cubicBezTo>
                    <a:pt x="50162" y="18886"/>
                    <a:pt x="51793" y="17159"/>
                    <a:pt x="51721" y="15099"/>
                  </a:cubicBezTo>
                  <a:cubicBezTo>
                    <a:pt x="51663" y="13077"/>
                    <a:pt x="49974" y="11490"/>
                    <a:pt x="47940" y="11490"/>
                  </a:cubicBezTo>
                  <a:cubicBezTo>
                    <a:pt x="47903" y="11490"/>
                    <a:pt x="47865" y="11491"/>
                    <a:pt x="47828" y="11492"/>
                  </a:cubicBezTo>
                  <a:cubicBezTo>
                    <a:pt x="46459" y="11539"/>
                    <a:pt x="45292" y="12301"/>
                    <a:pt x="44661" y="13397"/>
                  </a:cubicBezTo>
                  <a:cubicBezTo>
                    <a:pt x="44327" y="14004"/>
                    <a:pt x="43673" y="14433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7"/>
                    <a:pt x="39511" y="14577"/>
                  </a:cubicBezTo>
                  <a:cubicBezTo>
                    <a:pt x="38397" y="14577"/>
                    <a:pt x="37480" y="13697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1"/>
                    <a:pt x="33544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7" name="Google Shape;367;p19">
              <a:extLst>
                <a:ext uri="{FF2B5EF4-FFF2-40B4-BE49-F238E27FC236}">
                  <a16:creationId xmlns:a16="http://schemas.microsoft.com/office/drawing/2014/main" id="{83656B75-FA65-EADB-2A16-79FDF08446F0}"/>
                </a:ext>
              </a:extLst>
            </p:cNvPr>
            <p:cNvSpPr/>
            <p:nvPr/>
          </p:nvSpPr>
          <p:spPr>
            <a:xfrm>
              <a:off x="933838" y="78889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80"/>
                    <a:pt x="1" y="3001"/>
                  </a:cubicBezTo>
                  <a:cubicBezTo>
                    <a:pt x="1" y="4668"/>
                    <a:pt x="1346" y="6014"/>
                    <a:pt x="3001" y="6014"/>
                  </a:cubicBezTo>
                  <a:lnTo>
                    <a:pt x="4644" y="6014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8" name="Google Shape;368;p19">
              <a:extLst>
                <a:ext uri="{FF2B5EF4-FFF2-40B4-BE49-F238E27FC236}">
                  <a16:creationId xmlns:a16="http://schemas.microsoft.com/office/drawing/2014/main" id="{7E701376-48ED-70B6-D905-39B99D47F14E}"/>
                </a:ext>
              </a:extLst>
            </p:cNvPr>
            <p:cNvSpPr/>
            <p:nvPr/>
          </p:nvSpPr>
          <p:spPr>
            <a:xfrm>
              <a:off x="1071816" y="532900"/>
              <a:ext cx="1939277" cy="923862"/>
            </a:xfrm>
            <a:custGeom>
              <a:avLst/>
              <a:gdLst/>
              <a:ahLst/>
              <a:cxnLst/>
              <a:rect l="l" t="t" r="r" b="b"/>
              <a:pathLst>
                <a:path w="50710" h="24158" extrusionOk="0">
                  <a:moveTo>
                    <a:pt x="3549" y="0"/>
                  </a:moveTo>
                  <a:cubicBezTo>
                    <a:pt x="1584" y="0"/>
                    <a:pt x="1" y="1595"/>
                    <a:pt x="1" y="3560"/>
                  </a:cubicBezTo>
                  <a:lnTo>
                    <a:pt x="1" y="20610"/>
                  </a:lnTo>
                  <a:cubicBezTo>
                    <a:pt x="1" y="22562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2"/>
                    <a:pt x="36684" y="20610"/>
                  </a:cubicBezTo>
                  <a:lnTo>
                    <a:pt x="36684" y="18669"/>
                  </a:lnTo>
                  <a:cubicBezTo>
                    <a:pt x="36684" y="17550"/>
                    <a:pt x="37600" y="16633"/>
                    <a:pt x="38720" y="16633"/>
                  </a:cubicBezTo>
                  <a:lnTo>
                    <a:pt x="42030" y="16633"/>
                  </a:lnTo>
                  <a:cubicBezTo>
                    <a:pt x="42780" y="16633"/>
                    <a:pt x="43435" y="17038"/>
                    <a:pt x="43792" y="17633"/>
                  </a:cubicBezTo>
                  <a:cubicBezTo>
                    <a:pt x="44447" y="18705"/>
                    <a:pt x="45625" y="19431"/>
                    <a:pt x="46983" y="19431"/>
                  </a:cubicBezTo>
                  <a:cubicBezTo>
                    <a:pt x="49042" y="19431"/>
                    <a:pt x="50709" y="17752"/>
                    <a:pt x="50709" y="15692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2"/>
                    <a:pt x="43792" y="13764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28"/>
                  </a:cubicBezTo>
                  <a:lnTo>
                    <a:pt x="36684" y="3560"/>
                  </a:lnTo>
                  <a:cubicBezTo>
                    <a:pt x="36684" y="1595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9" name="Google Shape;369;p19">
              <a:extLst>
                <a:ext uri="{FF2B5EF4-FFF2-40B4-BE49-F238E27FC236}">
                  <a16:creationId xmlns:a16="http://schemas.microsoft.com/office/drawing/2014/main" id="{F478A4FC-C28A-AA2E-07A3-6DE1CFA16A04}"/>
                </a:ext>
              </a:extLst>
            </p:cNvPr>
            <p:cNvSpPr/>
            <p:nvPr/>
          </p:nvSpPr>
          <p:spPr>
            <a:xfrm>
              <a:off x="2752419" y="1016894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70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70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0" name="Google Shape;370;p19">
              <a:extLst>
                <a:ext uri="{FF2B5EF4-FFF2-40B4-BE49-F238E27FC236}">
                  <a16:creationId xmlns:a16="http://schemas.microsoft.com/office/drawing/2014/main" id="{D2CC46E4-0E18-C459-6731-7788D1035C52}"/>
                </a:ext>
              </a:extLst>
            </p:cNvPr>
            <p:cNvSpPr/>
            <p:nvPr/>
          </p:nvSpPr>
          <p:spPr>
            <a:xfrm>
              <a:off x="935214" y="56279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2168" y="1"/>
                    <a:pt x="1417" y="346"/>
                    <a:pt x="882" y="882"/>
                  </a:cubicBezTo>
                  <a:cubicBezTo>
                    <a:pt x="334" y="1429"/>
                    <a:pt x="1" y="2180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1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6"/>
                  </a:cubicBezTo>
                  <a:cubicBezTo>
                    <a:pt x="41815" y="1168"/>
                    <a:pt x="40541" y="1"/>
                    <a:pt x="39006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1" name="Google Shape;371;p19">
              <a:extLst>
                <a:ext uri="{FF2B5EF4-FFF2-40B4-BE49-F238E27FC236}">
                  <a16:creationId xmlns:a16="http://schemas.microsoft.com/office/drawing/2014/main" id="{BC0ADE3B-6BCB-A7F7-4E00-3B2C828E5260}"/>
                </a:ext>
              </a:extLst>
            </p:cNvPr>
            <p:cNvSpPr/>
            <p:nvPr/>
          </p:nvSpPr>
          <p:spPr>
            <a:xfrm>
              <a:off x="935214" y="532909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2168" y="0"/>
                    <a:pt x="1417" y="334"/>
                    <a:pt x="882" y="881"/>
                  </a:cubicBezTo>
                  <a:cubicBezTo>
                    <a:pt x="334" y="1417"/>
                    <a:pt x="1" y="2167"/>
                    <a:pt x="1" y="3001"/>
                  </a:cubicBezTo>
                  <a:lnTo>
                    <a:pt x="1" y="9013"/>
                  </a:lnTo>
                  <a:cubicBezTo>
                    <a:pt x="1" y="8192"/>
                    <a:pt x="334" y="7430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01"/>
                  </a:cubicBezTo>
                  <a:cubicBezTo>
                    <a:pt x="42006" y="1346"/>
                    <a:pt x="40660" y="0"/>
                    <a:pt x="39006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00"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2" name="Google Shape;372;p19">
              <a:extLst>
                <a:ext uri="{FF2B5EF4-FFF2-40B4-BE49-F238E27FC236}">
                  <a16:creationId xmlns:a16="http://schemas.microsoft.com/office/drawing/2014/main" id="{E28453F8-3EC6-DEDA-53C6-7ABEECD01F9A}"/>
                </a:ext>
              </a:extLst>
            </p:cNvPr>
            <p:cNvSpPr txBox="1"/>
            <p:nvPr/>
          </p:nvSpPr>
          <p:spPr>
            <a:xfrm>
              <a:off x="1081172" y="857225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5000 samples of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43" name="Google Shape;373;p19">
              <a:extLst>
                <a:ext uri="{FF2B5EF4-FFF2-40B4-BE49-F238E27FC236}">
                  <a16:creationId xmlns:a16="http://schemas.microsoft.com/office/drawing/2014/main" id="{33B1B2FE-6B07-658C-8002-785DCE648388}"/>
                </a:ext>
              </a:extLst>
            </p:cNvPr>
            <p:cNvSpPr txBox="1"/>
            <p:nvPr/>
          </p:nvSpPr>
          <p:spPr>
            <a:xfrm>
              <a:off x="1071825" y="532900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sym typeface="Fira Sans Extra Condensed Medium"/>
                </a:rPr>
                <a:t>Obtain Data</a:t>
              </a:r>
              <a:endParaRPr lang="en-US"/>
            </a:p>
          </p:txBody>
        </p:sp>
      </p:grpSp>
      <p:grpSp>
        <p:nvGrpSpPr>
          <p:cNvPr id="44" name="Google Shape;374;p19">
            <a:extLst>
              <a:ext uri="{FF2B5EF4-FFF2-40B4-BE49-F238E27FC236}">
                <a16:creationId xmlns:a16="http://schemas.microsoft.com/office/drawing/2014/main" id="{870EE28C-0036-35F6-40D7-794CBF7727D0}"/>
              </a:ext>
            </a:extLst>
          </p:cNvPr>
          <p:cNvGrpSpPr/>
          <p:nvPr/>
        </p:nvGrpSpPr>
        <p:grpSpPr>
          <a:xfrm>
            <a:off x="4584563" y="1772840"/>
            <a:ext cx="2079971" cy="979076"/>
            <a:chOff x="933838" y="1769089"/>
            <a:chExt cx="2079971" cy="979076"/>
          </a:xfrm>
        </p:grpSpPr>
        <p:sp>
          <p:nvSpPr>
            <p:cNvPr id="45" name="Google Shape;375;p19">
              <a:extLst>
                <a:ext uri="{FF2B5EF4-FFF2-40B4-BE49-F238E27FC236}">
                  <a16:creationId xmlns:a16="http://schemas.microsoft.com/office/drawing/2014/main" id="{41B1EE30-89B3-AED7-3C71-D8B988EBC1D5}"/>
                </a:ext>
              </a:extLst>
            </p:cNvPr>
            <p:cNvSpPr/>
            <p:nvPr/>
          </p:nvSpPr>
          <p:spPr>
            <a:xfrm>
              <a:off x="1033115" y="1787667"/>
              <a:ext cx="1980694" cy="960499"/>
            </a:xfrm>
            <a:custGeom>
              <a:avLst/>
              <a:gdLst/>
              <a:ahLst/>
              <a:cxnLst/>
              <a:rect l="l" t="t" r="r" b="b"/>
              <a:pathLst>
                <a:path w="51793" h="25116" extrusionOk="0">
                  <a:moveTo>
                    <a:pt x="33566" y="0"/>
                  </a:moveTo>
                  <a:cubicBezTo>
                    <a:pt x="33522" y="0"/>
                    <a:pt x="33478" y="1"/>
                    <a:pt x="33433" y="3"/>
                  </a:cubicBezTo>
                  <a:lnTo>
                    <a:pt x="3537" y="979"/>
                  </a:lnTo>
                  <a:cubicBezTo>
                    <a:pt x="1548" y="1050"/>
                    <a:pt x="0" y="2693"/>
                    <a:pt x="60" y="4646"/>
                  </a:cubicBezTo>
                  <a:lnTo>
                    <a:pt x="620" y="21684"/>
                  </a:lnTo>
                  <a:cubicBezTo>
                    <a:pt x="689" y="23604"/>
                    <a:pt x="2273" y="25115"/>
                    <a:pt x="4190" y="25115"/>
                  </a:cubicBezTo>
                  <a:cubicBezTo>
                    <a:pt x="4234" y="25115"/>
                    <a:pt x="4278" y="25114"/>
                    <a:pt x="4322" y="25113"/>
                  </a:cubicBezTo>
                  <a:lnTo>
                    <a:pt x="34231" y="24136"/>
                  </a:lnTo>
                  <a:cubicBezTo>
                    <a:pt x="36207" y="24065"/>
                    <a:pt x="37767" y="22422"/>
                    <a:pt x="37696" y="20469"/>
                  </a:cubicBezTo>
                  <a:lnTo>
                    <a:pt x="37636" y="18541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14"/>
                  </a:lnTo>
                  <a:cubicBezTo>
                    <a:pt x="43004" y="16313"/>
                    <a:pt x="43026" y="16313"/>
                    <a:pt x="43048" y="16313"/>
                  </a:cubicBezTo>
                  <a:cubicBezTo>
                    <a:pt x="43772" y="16313"/>
                    <a:pt x="44422" y="16689"/>
                    <a:pt x="44792" y="17267"/>
                  </a:cubicBezTo>
                  <a:cubicBezTo>
                    <a:pt x="45460" y="18280"/>
                    <a:pt x="46628" y="18948"/>
                    <a:pt x="47943" y="18948"/>
                  </a:cubicBezTo>
                  <a:cubicBezTo>
                    <a:pt x="47988" y="18948"/>
                    <a:pt x="48033" y="18947"/>
                    <a:pt x="48078" y="18945"/>
                  </a:cubicBezTo>
                  <a:cubicBezTo>
                    <a:pt x="50162" y="18886"/>
                    <a:pt x="51793" y="17159"/>
                    <a:pt x="51721" y="15100"/>
                  </a:cubicBezTo>
                  <a:cubicBezTo>
                    <a:pt x="51663" y="13084"/>
                    <a:pt x="49985" y="11490"/>
                    <a:pt x="47961" y="11490"/>
                  </a:cubicBezTo>
                  <a:cubicBezTo>
                    <a:pt x="47916" y="11490"/>
                    <a:pt x="47872" y="11491"/>
                    <a:pt x="47828" y="11492"/>
                  </a:cubicBezTo>
                  <a:cubicBezTo>
                    <a:pt x="46459" y="11540"/>
                    <a:pt x="45292" y="12290"/>
                    <a:pt x="44661" y="13397"/>
                  </a:cubicBezTo>
                  <a:cubicBezTo>
                    <a:pt x="44327" y="14004"/>
                    <a:pt x="43673" y="14433"/>
                    <a:pt x="42911" y="14457"/>
                  </a:cubicBezTo>
                  <a:lnTo>
                    <a:pt x="39577" y="14564"/>
                  </a:lnTo>
                  <a:cubicBezTo>
                    <a:pt x="39554" y="14565"/>
                    <a:pt x="39532" y="14565"/>
                    <a:pt x="39510" y="14565"/>
                  </a:cubicBezTo>
                  <a:cubicBezTo>
                    <a:pt x="38397" y="14565"/>
                    <a:pt x="37480" y="13696"/>
                    <a:pt x="37434" y="12587"/>
                  </a:cubicBezTo>
                  <a:lnTo>
                    <a:pt x="37136" y="3432"/>
                  </a:lnTo>
                  <a:cubicBezTo>
                    <a:pt x="37078" y="1511"/>
                    <a:pt x="35484" y="0"/>
                    <a:pt x="3356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6" name="Google Shape;376;p19">
              <a:extLst>
                <a:ext uri="{FF2B5EF4-FFF2-40B4-BE49-F238E27FC236}">
                  <a16:creationId xmlns:a16="http://schemas.microsoft.com/office/drawing/2014/main" id="{67C489D2-02A3-1001-86AF-4CE4EC84E40D}"/>
                </a:ext>
              </a:extLst>
            </p:cNvPr>
            <p:cNvSpPr/>
            <p:nvPr/>
          </p:nvSpPr>
          <p:spPr>
            <a:xfrm>
              <a:off x="933838" y="2025120"/>
              <a:ext cx="177598" cy="256034"/>
            </a:xfrm>
            <a:custGeom>
              <a:avLst/>
              <a:gdLst/>
              <a:ahLst/>
              <a:cxnLst/>
              <a:rect l="l" t="t" r="r" b="b"/>
              <a:pathLst>
                <a:path w="4644" h="6013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7" name="Google Shape;377;p19">
              <a:extLst>
                <a:ext uri="{FF2B5EF4-FFF2-40B4-BE49-F238E27FC236}">
                  <a16:creationId xmlns:a16="http://schemas.microsoft.com/office/drawing/2014/main" id="{9D768FB2-F32D-6A09-EE2C-0C4F2743114B}"/>
                </a:ext>
              </a:extLst>
            </p:cNvPr>
            <p:cNvSpPr/>
            <p:nvPr/>
          </p:nvSpPr>
          <p:spPr>
            <a:xfrm>
              <a:off x="1071816" y="1769540"/>
              <a:ext cx="1939277" cy="923442"/>
            </a:xfrm>
            <a:custGeom>
              <a:avLst/>
              <a:gdLst/>
              <a:ahLst/>
              <a:cxnLst/>
              <a:rect l="l" t="t" r="r" b="b"/>
              <a:pathLst>
                <a:path w="50710" h="24147" extrusionOk="0">
                  <a:moveTo>
                    <a:pt x="3549" y="0"/>
                  </a:moveTo>
                  <a:cubicBezTo>
                    <a:pt x="1584" y="0"/>
                    <a:pt x="1" y="1596"/>
                    <a:pt x="1" y="3548"/>
                  </a:cubicBezTo>
                  <a:lnTo>
                    <a:pt x="1" y="20598"/>
                  </a:lnTo>
                  <a:cubicBezTo>
                    <a:pt x="1" y="22563"/>
                    <a:pt x="1584" y="24146"/>
                    <a:pt x="3549" y="24146"/>
                  </a:cubicBezTo>
                  <a:lnTo>
                    <a:pt x="33124" y="24146"/>
                  </a:lnTo>
                  <a:cubicBezTo>
                    <a:pt x="35088" y="24146"/>
                    <a:pt x="36684" y="22563"/>
                    <a:pt x="36684" y="20598"/>
                  </a:cubicBezTo>
                  <a:lnTo>
                    <a:pt x="36684" y="18669"/>
                  </a:lnTo>
                  <a:cubicBezTo>
                    <a:pt x="36684" y="17538"/>
                    <a:pt x="37600" y="16621"/>
                    <a:pt x="38720" y="16621"/>
                  </a:cubicBezTo>
                  <a:lnTo>
                    <a:pt x="42030" y="16621"/>
                  </a:lnTo>
                  <a:cubicBezTo>
                    <a:pt x="42780" y="16621"/>
                    <a:pt x="43435" y="17026"/>
                    <a:pt x="43792" y="17633"/>
                  </a:cubicBezTo>
                  <a:cubicBezTo>
                    <a:pt x="44447" y="18705"/>
                    <a:pt x="45625" y="19419"/>
                    <a:pt x="46983" y="19419"/>
                  </a:cubicBezTo>
                  <a:cubicBezTo>
                    <a:pt x="49042" y="19419"/>
                    <a:pt x="50709" y="17753"/>
                    <a:pt x="50709" y="15693"/>
                  </a:cubicBezTo>
                  <a:cubicBezTo>
                    <a:pt x="50709" y="13633"/>
                    <a:pt x="49042" y="11954"/>
                    <a:pt x="46983" y="11954"/>
                  </a:cubicBezTo>
                  <a:cubicBezTo>
                    <a:pt x="45625" y="11954"/>
                    <a:pt x="44447" y="12680"/>
                    <a:pt x="43792" y="13752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16"/>
                  </a:cubicBezTo>
                  <a:lnTo>
                    <a:pt x="36684" y="3548"/>
                  </a:lnTo>
                  <a:cubicBezTo>
                    <a:pt x="36684" y="1596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8" name="Google Shape;378;p19">
              <a:extLst>
                <a:ext uri="{FF2B5EF4-FFF2-40B4-BE49-F238E27FC236}">
                  <a16:creationId xmlns:a16="http://schemas.microsoft.com/office/drawing/2014/main" id="{CBF8A3D4-60B0-2762-7FC9-96766F06CE8B}"/>
                </a:ext>
              </a:extLst>
            </p:cNvPr>
            <p:cNvSpPr/>
            <p:nvPr/>
          </p:nvSpPr>
          <p:spPr>
            <a:xfrm>
              <a:off x="2752419" y="2253534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9" name="Google Shape;379;p19">
              <a:extLst>
                <a:ext uri="{FF2B5EF4-FFF2-40B4-BE49-F238E27FC236}">
                  <a16:creationId xmlns:a16="http://schemas.microsoft.com/office/drawing/2014/main" id="{ED3832C1-FF82-B007-DD8B-BCB301E2D728}"/>
                </a:ext>
              </a:extLst>
            </p:cNvPr>
            <p:cNvSpPr/>
            <p:nvPr/>
          </p:nvSpPr>
          <p:spPr>
            <a:xfrm>
              <a:off x="935214" y="1799534"/>
              <a:ext cx="1606414" cy="368572"/>
            </a:xfrm>
            <a:custGeom>
              <a:avLst/>
              <a:gdLst/>
              <a:ahLst/>
              <a:cxnLst/>
              <a:rect l="l" t="t" r="r" b="b"/>
              <a:pathLst>
                <a:path w="42006" h="8656" extrusionOk="0">
                  <a:moveTo>
                    <a:pt x="3001" y="0"/>
                  </a:moveTo>
                  <a:cubicBezTo>
                    <a:pt x="2168" y="0"/>
                    <a:pt x="1417" y="333"/>
                    <a:pt x="882" y="881"/>
                  </a:cubicBezTo>
                  <a:cubicBezTo>
                    <a:pt x="334" y="1429"/>
                    <a:pt x="1" y="2179"/>
                    <a:pt x="1" y="3012"/>
                  </a:cubicBezTo>
                  <a:lnTo>
                    <a:pt x="1" y="8311"/>
                  </a:lnTo>
                  <a:lnTo>
                    <a:pt x="24" y="8656"/>
                  </a:lnTo>
                  <a:cubicBezTo>
                    <a:pt x="108" y="7977"/>
                    <a:pt x="417" y="7358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12"/>
                  </a:cubicBezTo>
                  <a:cubicBezTo>
                    <a:pt x="42006" y="2881"/>
                    <a:pt x="42006" y="2774"/>
                    <a:pt x="41982" y="2655"/>
                  </a:cubicBezTo>
                  <a:cubicBezTo>
                    <a:pt x="41815" y="1155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380;p19">
              <a:extLst>
                <a:ext uri="{FF2B5EF4-FFF2-40B4-BE49-F238E27FC236}">
                  <a16:creationId xmlns:a16="http://schemas.microsoft.com/office/drawing/2014/main" id="{ACAF32B3-5C8F-5A7C-0583-16353C7BA9A8}"/>
                </a:ext>
              </a:extLst>
            </p:cNvPr>
            <p:cNvSpPr/>
            <p:nvPr/>
          </p:nvSpPr>
          <p:spPr>
            <a:xfrm>
              <a:off x="935214" y="1769089"/>
              <a:ext cx="1606414" cy="384327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9026"/>
                  </a:lnTo>
                  <a:cubicBezTo>
                    <a:pt x="1" y="8192"/>
                    <a:pt x="334" y="7442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381;p19">
              <a:extLst>
                <a:ext uri="{FF2B5EF4-FFF2-40B4-BE49-F238E27FC236}">
                  <a16:creationId xmlns:a16="http://schemas.microsoft.com/office/drawing/2014/main" id="{1318E4BE-E0B9-33EC-934A-18639A1F15E9}"/>
                </a:ext>
              </a:extLst>
            </p:cNvPr>
            <p:cNvSpPr txBox="1"/>
            <p:nvPr/>
          </p:nvSpPr>
          <p:spPr>
            <a:xfrm>
              <a:off x="1081172" y="209766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Encode strings and batch them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Google Shape;382;p19">
              <a:extLst>
                <a:ext uri="{FF2B5EF4-FFF2-40B4-BE49-F238E27FC236}">
                  <a16:creationId xmlns:a16="http://schemas.microsoft.com/office/drawing/2014/main" id="{66A8AB38-C7E4-96B6-0049-864E509A39E8}"/>
                </a:ext>
              </a:extLst>
            </p:cNvPr>
            <p:cNvSpPr txBox="1"/>
            <p:nvPr/>
          </p:nvSpPr>
          <p:spPr>
            <a:xfrm>
              <a:off x="1071825" y="1769313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Encode + Batch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53" name="Google Shape;383;p19">
            <a:extLst>
              <a:ext uri="{FF2B5EF4-FFF2-40B4-BE49-F238E27FC236}">
                <a16:creationId xmlns:a16="http://schemas.microsoft.com/office/drawing/2014/main" id="{084199AD-7317-DD9D-F00C-7BE4CF52FE40}"/>
              </a:ext>
            </a:extLst>
          </p:cNvPr>
          <p:cNvGrpSpPr/>
          <p:nvPr/>
        </p:nvGrpSpPr>
        <p:grpSpPr>
          <a:xfrm>
            <a:off x="4584563" y="3009472"/>
            <a:ext cx="2079971" cy="979046"/>
            <a:chOff x="933838" y="3005721"/>
            <a:chExt cx="2079971" cy="979046"/>
          </a:xfrm>
        </p:grpSpPr>
        <p:sp>
          <p:nvSpPr>
            <p:cNvPr id="54" name="Google Shape;384;p19">
              <a:extLst>
                <a:ext uri="{FF2B5EF4-FFF2-40B4-BE49-F238E27FC236}">
                  <a16:creationId xmlns:a16="http://schemas.microsoft.com/office/drawing/2014/main" id="{16DBC7E0-A3F4-DA44-3C59-2E2EA36E3AFB}"/>
                </a:ext>
              </a:extLst>
            </p:cNvPr>
            <p:cNvSpPr/>
            <p:nvPr/>
          </p:nvSpPr>
          <p:spPr>
            <a:xfrm>
              <a:off x="1033115" y="3023886"/>
              <a:ext cx="1980694" cy="960881"/>
            </a:xfrm>
            <a:custGeom>
              <a:avLst/>
              <a:gdLst/>
              <a:ahLst/>
              <a:cxnLst/>
              <a:rect l="l" t="t" r="r" b="b"/>
              <a:pathLst>
                <a:path w="51793" h="25126" extrusionOk="0">
                  <a:moveTo>
                    <a:pt x="33544" y="0"/>
                  </a:moveTo>
                  <a:cubicBezTo>
                    <a:pt x="33507" y="0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7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5"/>
                    <a:pt x="4322" y="25124"/>
                  </a:cubicBezTo>
                  <a:lnTo>
                    <a:pt x="34231" y="24136"/>
                  </a:lnTo>
                  <a:cubicBezTo>
                    <a:pt x="36207" y="24076"/>
                    <a:pt x="37767" y="22433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8"/>
                    <a:pt x="39636" y="16433"/>
                  </a:cubicBezTo>
                  <a:lnTo>
                    <a:pt x="42982" y="16325"/>
                  </a:lnTo>
                  <a:cubicBezTo>
                    <a:pt x="43004" y="16325"/>
                    <a:pt x="43026" y="16324"/>
                    <a:pt x="43049" y="16324"/>
                  </a:cubicBezTo>
                  <a:cubicBezTo>
                    <a:pt x="43772" y="16324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8"/>
                    <a:pt x="48078" y="18957"/>
                  </a:cubicBezTo>
                  <a:cubicBezTo>
                    <a:pt x="50162" y="18885"/>
                    <a:pt x="51793" y="17159"/>
                    <a:pt x="51721" y="15099"/>
                  </a:cubicBezTo>
                  <a:cubicBezTo>
                    <a:pt x="51663" y="13076"/>
                    <a:pt x="49974" y="11490"/>
                    <a:pt x="47940" y="11490"/>
                  </a:cubicBezTo>
                  <a:cubicBezTo>
                    <a:pt x="47903" y="11490"/>
                    <a:pt x="47865" y="11490"/>
                    <a:pt x="47828" y="11491"/>
                  </a:cubicBezTo>
                  <a:cubicBezTo>
                    <a:pt x="46459" y="11539"/>
                    <a:pt x="45292" y="12301"/>
                    <a:pt x="44661" y="13396"/>
                  </a:cubicBezTo>
                  <a:cubicBezTo>
                    <a:pt x="44327" y="14004"/>
                    <a:pt x="43673" y="14432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6"/>
                    <a:pt x="39511" y="14576"/>
                  </a:cubicBezTo>
                  <a:cubicBezTo>
                    <a:pt x="38397" y="14576"/>
                    <a:pt x="37480" y="13696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0"/>
                    <a:pt x="33544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5" name="Google Shape;385;p19">
              <a:extLst>
                <a:ext uri="{FF2B5EF4-FFF2-40B4-BE49-F238E27FC236}">
                  <a16:creationId xmlns:a16="http://schemas.microsoft.com/office/drawing/2014/main" id="{7239C8BB-1E2E-F5DD-E42A-A3C2B808DB81}"/>
                </a:ext>
              </a:extLst>
            </p:cNvPr>
            <p:cNvSpPr/>
            <p:nvPr/>
          </p:nvSpPr>
          <p:spPr>
            <a:xfrm>
              <a:off x="933838" y="3261739"/>
              <a:ext cx="177598" cy="256061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7"/>
                    <a:pt x="1" y="2179"/>
                    <a:pt x="1" y="3001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6" name="Google Shape;386;p19">
              <a:extLst>
                <a:ext uri="{FF2B5EF4-FFF2-40B4-BE49-F238E27FC236}">
                  <a16:creationId xmlns:a16="http://schemas.microsoft.com/office/drawing/2014/main" id="{A0DB2FD9-4771-C3C3-C7CE-8291A2AA7B56}"/>
                </a:ext>
              </a:extLst>
            </p:cNvPr>
            <p:cNvSpPr/>
            <p:nvPr/>
          </p:nvSpPr>
          <p:spPr>
            <a:xfrm>
              <a:off x="1071816" y="3005721"/>
              <a:ext cx="1939277" cy="923901"/>
            </a:xfrm>
            <a:custGeom>
              <a:avLst/>
              <a:gdLst/>
              <a:ahLst/>
              <a:cxnLst/>
              <a:rect l="l" t="t" r="r" b="b"/>
              <a:pathLst>
                <a:path w="50710" h="24159" extrusionOk="0">
                  <a:moveTo>
                    <a:pt x="3549" y="1"/>
                  </a:moveTo>
                  <a:cubicBezTo>
                    <a:pt x="1584" y="1"/>
                    <a:pt x="1" y="1596"/>
                    <a:pt x="1" y="3561"/>
                  </a:cubicBezTo>
                  <a:lnTo>
                    <a:pt x="1" y="20610"/>
                  </a:lnTo>
                  <a:cubicBezTo>
                    <a:pt x="1" y="22563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3"/>
                    <a:pt x="36684" y="20610"/>
                  </a:cubicBezTo>
                  <a:lnTo>
                    <a:pt x="36684" y="18670"/>
                  </a:lnTo>
                  <a:cubicBezTo>
                    <a:pt x="36684" y="17550"/>
                    <a:pt x="37600" y="16634"/>
                    <a:pt x="38720" y="16634"/>
                  </a:cubicBezTo>
                  <a:lnTo>
                    <a:pt x="42030" y="16634"/>
                  </a:lnTo>
                  <a:cubicBezTo>
                    <a:pt x="42780" y="16634"/>
                    <a:pt x="43435" y="17039"/>
                    <a:pt x="43792" y="17634"/>
                  </a:cubicBezTo>
                  <a:cubicBezTo>
                    <a:pt x="44447" y="18705"/>
                    <a:pt x="45625" y="19432"/>
                    <a:pt x="46983" y="19432"/>
                  </a:cubicBezTo>
                  <a:cubicBezTo>
                    <a:pt x="49042" y="19432"/>
                    <a:pt x="50709" y="17765"/>
                    <a:pt x="50709" y="15693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3"/>
                    <a:pt x="43792" y="13764"/>
                  </a:cubicBezTo>
                  <a:cubicBezTo>
                    <a:pt x="43435" y="14360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8"/>
                    <a:pt x="36684" y="12728"/>
                  </a:cubicBezTo>
                  <a:lnTo>
                    <a:pt x="36684" y="3561"/>
                  </a:lnTo>
                  <a:cubicBezTo>
                    <a:pt x="36684" y="1596"/>
                    <a:pt x="35088" y="1"/>
                    <a:pt x="33124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387;p19">
              <a:extLst>
                <a:ext uri="{FF2B5EF4-FFF2-40B4-BE49-F238E27FC236}">
                  <a16:creationId xmlns:a16="http://schemas.microsoft.com/office/drawing/2014/main" id="{A9D8ABE3-F548-E553-F7B2-E70F082E0E49}"/>
                </a:ext>
              </a:extLst>
            </p:cNvPr>
            <p:cNvSpPr/>
            <p:nvPr/>
          </p:nvSpPr>
          <p:spPr>
            <a:xfrm>
              <a:off x="2752419" y="3489753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69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69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8" name="Google Shape;388;p19">
              <a:extLst>
                <a:ext uri="{FF2B5EF4-FFF2-40B4-BE49-F238E27FC236}">
                  <a16:creationId xmlns:a16="http://schemas.microsoft.com/office/drawing/2014/main" id="{B705722C-D58B-8B4C-A239-94A6CA47A99A}"/>
                </a:ext>
              </a:extLst>
            </p:cNvPr>
            <p:cNvSpPr/>
            <p:nvPr/>
          </p:nvSpPr>
          <p:spPr>
            <a:xfrm>
              <a:off x="935214" y="3035660"/>
              <a:ext cx="1606414" cy="369104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0"/>
                    <a:pt x="882" y="6894"/>
                  </a:cubicBezTo>
                  <a:cubicBezTo>
                    <a:pt x="1417" y="6358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5"/>
                  </a:cubicBezTo>
                  <a:cubicBezTo>
                    <a:pt x="41815" y="1167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9" name="Google Shape;389;p19">
              <a:extLst>
                <a:ext uri="{FF2B5EF4-FFF2-40B4-BE49-F238E27FC236}">
                  <a16:creationId xmlns:a16="http://schemas.microsoft.com/office/drawing/2014/main" id="{C03FCBF4-C92F-D037-140C-8C80B44B94E9}"/>
                </a:ext>
              </a:extLst>
            </p:cNvPr>
            <p:cNvSpPr/>
            <p:nvPr/>
          </p:nvSpPr>
          <p:spPr>
            <a:xfrm>
              <a:off x="935214" y="3005729"/>
              <a:ext cx="1606414" cy="383794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68"/>
                    <a:pt x="1" y="3001"/>
                  </a:cubicBezTo>
                  <a:lnTo>
                    <a:pt x="1" y="9014"/>
                  </a:lnTo>
                  <a:cubicBezTo>
                    <a:pt x="1" y="8192"/>
                    <a:pt x="334" y="7430"/>
                    <a:pt x="882" y="6895"/>
                  </a:cubicBezTo>
                  <a:cubicBezTo>
                    <a:pt x="1417" y="6347"/>
                    <a:pt x="2168" y="6014"/>
                    <a:pt x="3001" y="6014"/>
                  </a:cubicBezTo>
                  <a:lnTo>
                    <a:pt x="39006" y="6014"/>
                  </a:lnTo>
                  <a:cubicBezTo>
                    <a:pt x="40660" y="6014"/>
                    <a:pt x="42006" y="4668"/>
                    <a:pt x="42006" y="3001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60" name="Google Shape;390;p19">
              <a:extLst>
                <a:ext uri="{FF2B5EF4-FFF2-40B4-BE49-F238E27FC236}">
                  <a16:creationId xmlns:a16="http://schemas.microsoft.com/office/drawing/2014/main" id="{EC0BD778-21B1-0382-06E7-2622FA4F4F7D}"/>
                </a:ext>
              </a:extLst>
            </p:cNvPr>
            <p:cNvSpPr txBox="1"/>
            <p:nvPr/>
          </p:nvSpPr>
          <p:spPr>
            <a:xfrm>
              <a:off x="1081172" y="333811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Generate output and decode it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pic>
        <p:nvPicPr>
          <p:cNvPr id="64" name="Graphic 63" descr="Checkmark">
            <a:extLst>
              <a:ext uri="{FF2B5EF4-FFF2-40B4-BE49-F238E27FC236}">
                <a16:creationId xmlns:a16="http://schemas.microsoft.com/office/drawing/2014/main" id="{848D5A6A-778F-8E6F-B675-5E5B9D32E4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6748" y="2277735"/>
            <a:ext cx="213785" cy="213785"/>
          </a:xfrm>
          <a:prstGeom prst="rect">
            <a:avLst/>
          </a:prstGeom>
        </p:spPr>
      </p:pic>
      <p:pic>
        <p:nvPicPr>
          <p:cNvPr id="67" name="Graphic 66" descr="Checkmark">
            <a:extLst>
              <a:ext uri="{FF2B5EF4-FFF2-40B4-BE49-F238E27FC236}">
                <a16:creationId xmlns:a16="http://schemas.microsoft.com/office/drawing/2014/main" id="{CFCB958C-F88D-0CE1-A124-304641D925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7303" y="1653160"/>
            <a:ext cx="213785" cy="213785"/>
          </a:xfrm>
          <a:prstGeom prst="rect">
            <a:avLst/>
          </a:prstGeom>
        </p:spPr>
      </p:pic>
      <p:pic>
        <p:nvPicPr>
          <p:cNvPr id="68" name="Graphic 67" descr="Checkmark">
            <a:extLst>
              <a:ext uri="{FF2B5EF4-FFF2-40B4-BE49-F238E27FC236}">
                <a16:creationId xmlns:a16="http://schemas.microsoft.com/office/drawing/2014/main" id="{F6DAA5C9-9661-3043-1B77-339AA2C084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5534" y="1040560"/>
            <a:ext cx="213785" cy="213785"/>
          </a:xfrm>
          <a:prstGeom prst="rect">
            <a:avLst/>
          </a:prstGeom>
        </p:spPr>
      </p:pic>
      <p:sp>
        <p:nvSpPr>
          <p:cNvPr id="62" name="Google Shape;364;p19">
            <a:extLst>
              <a:ext uri="{FF2B5EF4-FFF2-40B4-BE49-F238E27FC236}">
                <a16:creationId xmlns:a16="http://schemas.microsoft.com/office/drawing/2014/main" id="{B98C82C8-0C9F-A9B6-9F0F-EB265E1C9881}"/>
              </a:ext>
            </a:extLst>
          </p:cNvPr>
          <p:cNvSpPr txBox="1"/>
          <p:nvPr/>
        </p:nvSpPr>
        <p:spPr>
          <a:xfrm>
            <a:off x="6846175" y="1144475"/>
            <a:ext cx="157998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Preprocess Data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sp>
        <p:nvSpPr>
          <p:cNvPr id="65" name="Google Shape;391;p19">
            <a:extLst>
              <a:ext uri="{FF2B5EF4-FFF2-40B4-BE49-F238E27FC236}">
                <a16:creationId xmlns:a16="http://schemas.microsoft.com/office/drawing/2014/main" id="{D0273BD3-C933-01FB-5435-770163383480}"/>
              </a:ext>
            </a:extLst>
          </p:cNvPr>
          <p:cNvSpPr txBox="1"/>
          <p:nvPr/>
        </p:nvSpPr>
        <p:spPr>
          <a:xfrm>
            <a:off x="4520839" y="3012821"/>
            <a:ext cx="174725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Generate + Decode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pic>
        <p:nvPicPr>
          <p:cNvPr id="74" name="Graphic 73" descr="Warning">
            <a:extLst>
              <a:ext uri="{FF2B5EF4-FFF2-40B4-BE49-F238E27FC236}">
                <a16:creationId xmlns:a16="http://schemas.microsoft.com/office/drawing/2014/main" id="{7C17E84C-7470-B838-2BEE-82719C9976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15947" y="2875886"/>
            <a:ext cx="205693" cy="205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977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02363" y="1312022"/>
            <a:ext cx="8335236" cy="880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/>
                <a:cs typeface="Arial"/>
              </a:rPr>
              <a:t>First iteration</a:t>
            </a:r>
            <a:endParaRPr lang="en-US" dirty="0"/>
          </a:p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First output generation from our model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Trained on 10 lines</a:t>
            </a: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endParaRPr lang="en-US" sz="1200" b="0" dirty="0">
              <a:latin typeface="Arial"/>
              <a:cs typeface="Arial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5.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74769E-C794-D252-5968-0DB610A472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2566" y="2247291"/>
            <a:ext cx="6374829" cy="254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941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E69495-0115-6758-F60A-C57BEA80D48B}"/>
              </a:ext>
            </a:extLst>
          </p:cNvPr>
          <p:cNvSpPr/>
          <p:nvPr/>
        </p:nvSpPr>
        <p:spPr>
          <a:xfrm>
            <a:off x="3613807" y="452"/>
            <a:ext cx="936887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Google Shape;50;p2"/>
          <p:cNvSpPr txBox="1"/>
          <p:nvPr/>
        </p:nvSpPr>
        <p:spPr>
          <a:xfrm>
            <a:off x="535840" y="896016"/>
            <a:ext cx="307796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gress pt. 5.3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1F748EA-24DD-A485-48DD-1849BBC80C0D}"/>
              </a:ext>
            </a:extLst>
          </p:cNvPr>
          <p:cNvGrpSpPr/>
          <p:nvPr/>
        </p:nvGrpSpPr>
        <p:grpSpPr>
          <a:xfrm>
            <a:off x="1099260" y="1955130"/>
            <a:ext cx="7031976" cy="2406650"/>
            <a:chOff x="1099260" y="1955130"/>
            <a:chExt cx="7031976" cy="240665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578ACF94-DE1F-9466-2579-FEC516051336}"/>
                </a:ext>
              </a:extLst>
            </p:cNvPr>
            <p:cNvSpPr txBox="1"/>
            <p:nvPr/>
          </p:nvSpPr>
          <p:spPr>
            <a:xfrm>
              <a:off x="1099260" y="2004459"/>
              <a:ext cx="3418932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Input</a:t>
              </a:r>
            </a:p>
            <a:p>
              <a:endParaRPr lang="en-US" b="1" dirty="0"/>
            </a:p>
            <a:p>
              <a:r>
                <a:rPr lang="en-US" b="1" dirty="0">
                  <a:solidFill>
                    <a:schemeClr val="tx2"/>
                  </a:solidFill>
                  <a:latin typeface="Consolas"/>
                </a:rPr>
                <a:t>“&lt;|start|&gt; # write a python function to merge two given lists into a single list \n |”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4E7FC39-54B0-E044-2387-2FC375C17BDC}"/>
                </a:ext>
              </a:extLst>
            </p:cNvPr>
            <p:cNvSpPr/>
            <p:nvPr/>
          </p:nvSpPr>
          <p:spPr>
            <a:xfrm>
              <a:off x="4561972" y="1955131"/>
              <a:ext cx="3449053" cy="421105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1DA1F5D-3D61-6CE3-A147-79A029147FED}"/>
                </a:ext>
              </a:extLst>
            </p:cNvPr>
            <p:cNvSpPr/>
            <p:nvPr/>
          </p:nvSpPr>
          <p:spPr>
            <a:xfrm>
              <a:off x="4521867" y="1955131"/>
              <a:ext cx="3489158" cy="421105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144DDBC-B0A2-F70A-9FB9-A2D5CAF94D27}"/>
                </a:ext>
              </a:extLst>
            </p:cNvPr>
            <p:cNvSpPr/>
            <p:nvPr/>
          </p:nvSpPr>
          <p:spPr>
            <a:xfrm>
              <a:off x="4521866" y="1955131"/>
              <a:ext cx="3489158" cy="2406315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241176A-455A-6752-F0D8-27DCF9B0BC57}"/>
                </a:ext>
              </a:extLst>
            </p:cNvPr>
            <p:cNvSpPr/>
            <p:nvPr/>
          </p:nvSpPr>
          <p:spPr>
            <a:xfrm>
              <a:off x="1102894" y="1955131"/>
              <a:ext cx="3459079" cy="42110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F812758-84A0-5300-A9F8-937536B1A2A2}"/>
                </a:ext>
              </a:extLst>
            </p:cNvPr>
            <p:cNvSpPr/>
            <p:nvPr/>
          </p:nvSpPr>
          <p:spPr>
            <a:xfrm>
              <a:off x="1102893" y="1955130"/>
              <a:ext cx="3459079" cy="240631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CD1B910-84EB-4EA5-E406-2BEE0000EB86}"/>
                </a:ext>
              </a:extLst>
            </p:cNvPr>
            <p:cNvCxnSpPr/>
            <p:nvPr/>
          </p:nvCxnSpPr>
          <p:spPr>
            <a:xfrm>
              <a:off x="4548904" y="1955130"/>
              <a:ext cx="82550" cy="0"/>
            </a:xfrm>
            <a:prstGeom prst="line">
              <a:avLst/>
            </a:prstGeom>
            <a:ln w="2413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557183C-C91E-4C60-2CCD-A9BE6CC481BC}"/>
                </a:ext>
              </a:extLst>
            </p:cNvPr>
            <p:cNvCxnSpPr/>
            <p:nvPr/>
          </p:nvCxnSpPr>
          <p:spPr>
            <a:xfrm>
              <a:off x="4548904" y="2374755"/>
              <a:ext cx="82550" cy="0"/>
            </a:xfrm>
            <a:prstGeom prst="line">
              <a:avLst/>
            </a:prstGeom>
            <a:ln w="2413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A363B11-F522-AED1-D228-611656C75885}"/>
                </a:ext>
              </a:extLst>
            </p:cNvPr>
            <p:cNvCxnSpPr/>
            <p:nvPr/>
          </p:nvCxnSpPr>
          <p:spPr>
            <a:xfrm>
              <a:off x="4549775" y="4361780"/>
              <a:ext cx="82550" cy="0"/>
            </a:xfrm>
            <a:prstGeom prst="line">
              <a:avLst/>
            </a:prstGeom>
            <a:ln w="2413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103EAC7-3426-8DA4-BFAA-935DF6DB81D9}"/>
                </a:ext>
              </a:extLst>
            </p:cNvPr>
            <p:cNvSpPr txBox="1"/>
            <p:nvPr/>
          </p:nvSpPr>
          <p:spPr>
            <a:xfrm>
              <a:off x="4468054" y="2004459"/>
              <a:ext cx="3663182" cy="138499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b="1" dirty="0">
                  <a:solidFill>
                    <a:schemeClr val="bg2"/>
                  </a:solidFill>
                </a:rPr>
                <a:t>Output</a:t>
              </a:r>
            </a:p>
            <a:p>
              <a:endParaRPr lang="en-US" dirty="0"/>
            </a:p>
            <a:p>
              <a:r>
                <a:rPr lang="en-US" b="1" dirty="0">
                  <a:latin typeface="Consolas"/>
                </a:rPr>
                <a:t>def </a:t>
              </a:r>
              <a:r>
                <a:rPr lang="en-US" b="1" dirty="0" err="1">
                  <a:latin typeface="Consolas"/>
                </a:rPr>
                <a:t>merge_lists</a:t>
              </a:r>
              <a:r>
                <a:rPr lang="en-US" b="1" dirty="0">
                  <a:latin typeface="Consolas"/>
                </a:rPr>
                <a:t>(l1, l2):</a:t>
              </a:r>
            </a:p>
            <a:p>
              <a:r>
                <a:rPr lang="en-US" b="1" dirty="0">
                  <a:latin typeface="Consolas"/>
                </a:rPr>
                <a:t>    results = list(zip(l1,l2))</a:t>
              </a:r>
            </a:p>
            <a:p>
              <a:r>
                <a:rPr lang="en-US" b="1" dirty="0">
                  <a:latin typeface="Consolas"/>
                </a:rPr>
                <a:t>    </a:t>
              </a:r>
            </a:p>
            <a:p>
              <a:r>
                <a:rPr lang="en-US" b="1" dirty="0">
                  <a:latin typeface="Consolas"/>
                </a:rPr>
                <a:t>    return result</a:t>
              </a:r>
            </a:p>
          </p:txBody>
        </p:sp>
      </p:grpSp>
      <p:sp>
        <p:nvSpPr>
          <p:cNvPr id="12" name="Google Shape;335;p19">
            <a:extLst>
              <a:ext uri="{FF2B5EF4-FFF2-40B4-BE49-F238E27FC236}">
                <a16:creationId xmlns:a16="http://schemas.microsoft.com/office/drawing/2014/main" id="{F57AF5A3-AFC3-F3F1-8D0E-A3873C6124FD}"/>
              </a:ext>
            </a:extLst>
          </p:cNvPr>
          <p:cNvSpPr txBox="1">
            <a:spLocks/>
          </p:cNvSpPr>
          <p:nvPr/>
        </p:nvSpPr>
        <p:spPr>
          <a:xfrm>
            <a:off x="450490" y="1322021"/>
            <a:ext cx="3578191" cy="4056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Generate + Deco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ED15FA-6F3B-D1A7-6619-3CEA6C4BE0A6}"/>
              </a:ext>
            </a:extLst>
          </p:cNvPr>
          <p:cNvSpPr txBox="1"/>
          <p:nvPr/>
        </p:nvSpPr>
        <p:spPr>
          <a:xfrm>
            <a:off x="1143167" y="3524002"/>
            <a:ext cx="316625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Consolas"/>
              </a:rPr>
              <a:t>“&lt;|start|&gt; # create python for</a:t>
            </a:r>
          </a:p>
          <a:p>
            <a:r>
              <a:rPr lang="en-US" b="1" dirty="0">
                <a:solidFill>
                  <a:schemeClr val="tx2"/>
                </a:solidFill>
                <a:latin typeface="Consolas"/>
              </a:rPr>
              <a:t>loop that prints the entire</a:t>
            </a:r>
          </a:p>
          <a:p>
            <a:r>
              <a:rPr lang="en-US" b="1" dirty="0">
                <a:solidFill>
                  <a:schemeClr val="tx2"/>
                </a:solidFill>
                <a:latin typeface="Consolas"/>
              </a:rPr>
              <a:t>alphabet \n |”</a:t>
            </a:r>
          </a:p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7E776B-1704-0E30-F5A1-63B08A660C28}"/>
              </a:ext>
            </a:extLst>
          </p:cNvPr>
          <p:cNvSpPr txBox="1"/>
          <p:nvPr/>
        </p:nvSpPr>
        <p:spPr>
          <a:xfrm>
            <a:off x="4468054" y="3518929"/>
            <a:ext cx="36631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Consolas"/>
              </a:rPr>
              <a:t>for alphabet in range(0,len(str1)):</a:t>
            </a:r>
          </a:p>
          <a:p>
            <a:r>
              <a:rPr lang="en-US" b="1" dirty="0">
                <a:latin typeface="Consolas"/>
              </a:rPr>
              <a:t>    print( alphabet[0])</a:t>
            </a:r>
          </a:p>
        </p:txBody>
      </p:sp>
    </p:spTree>
    <p:extLst>
      <p:ext uri="{BB962C8B-B14F-4D97-AF65-F5344CB8AC3E}">
        <p14:creationId xmlns:p14="http://schemas.microsoft.com/office/powerpoint/2010/main" val="22139052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335;p19">
            <a:extLst>
              <a:ext uri="{FF2B5EF4-FFF2-40B4-BE49-F238E27FC236}">
                <a16:creationId xmlns:a16="http://schemas.microsoft.com/office/drawing/2014/main" id="{CCC2396E-0194-2139-968B-8437A8652C5B}"/>
              </a:ext>
            </a:extLst>
          </p:cNvPr>
          <p:cNvSpPr txBox="1">
            <a:spLocks/>
          </p:cNvSpPr>
          <p:nvPr/>
        </p:nvSpPr>
        <p:spPr>
          <a:xfrm>
            <a:off x="422989" y="1464421"/>
            <a:ext cx="3508007" cy="293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800" dirty="0">
                <a:latin typeface="Arial"/>
                <a:cs typeface="Arial"/>
              </a:rPr>
              <a:t>Test Model</a:t>
            </a:r>
          </a:p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Classic performance metrics are unneeded here, as a more subjective evaluation is required to evaluate model performance</a:t>
            </a:r>
          </a:p>
          <a:p>
            <a:pPr>
              <a:buSzPct val="150000"/>
            </a:pPr>
            <a:endParaRPr lang="en-US" sz="400" b="0" dirty="0">
              <a:latin typeface="Arial"/>
              <a:cs typeface="Arial"/>
            </a:endParaRPr>
          </a:p>
          <a:p>
            <a:pPr marL="285750" indent="-285750">
              <a:buSzPct val="150000"/>
              <a:buFont typeface="Arial" panose="020B0604020202020204" pitchFamily="34" charset="0"/>
              <a:buChar char="•"/>
            </a:pPr>
            <a:r>
              <a:rPr lang="en-US" sz="1200" b="0" dirty="0">
                <a:latin typeface="Arial"/>
                <a:cs typeface="Arial"/>
              </a:rPr>
              <a:t>We will evaluate our model on the following characteristics: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6.1</a:t>
            </a:r>
          </a:p>
        </p:txBody>
      </p:sp>
      <p:sp>
        <p:nvSpPr>
          <p:cNvPr id="6" name="Google Shape;336;p19">
            <a:extLst>
              <a:ext uri="{FF2B5EF4-FFF2-40B4-BE49-F238E27FC236}">
                <a16:creationId xmlns:a16="http://schemas.microsoft.com/office/drawing/2014/main" id="{3A46E835-1E6D-22F7-161E-6E2B33500B1E}"/>
              </a:ext>
            </a:extLst>
          </p:cNvPr>
          <p:cNvSpPr/>
          <p:nvPr/>
        </p:nvSpPr>
        <p:spPr>
          <a:xfrm>
            <a:off x="6495888" y="-30149"/>
            <a:ext cx="46774" cy="5203797"/>
          </a:xfrm>
          <a:custGeom>
            <a:avLst/>
            <a:gdLst/>
            <a:ahLst/>
            <a:cxnLst/>
            <a:rect l="l" t="t" r="r" b="b"/>
            <a:pathLst>
              <a:path w="1513" h="166415" extrusionOk="0">
                <a:moveTo>
                  <a:pt x="751" y="1"/>
                </a:moveTo>
                <a:cubicBezTo>
                  <a:pt x="346" y="1"/>
                  <a:pt x="1" y="334"/>
                  <a:pt x="1" y="751"/>
                </a:cubicBezTo>
                <a:lnTo>
                  <a:pt x="1" y="165664"/>
                </a:lnTo>
                <a:cubicBezTo>
                  <a:pt x="1" y="166081"/>
                  <a:pt x="334" y="166414"/>
                  <a:pt x="751" y="166414"/>
                </a:cubicBezTo>
                <a:cubicBezTo>
                  <a:pt x="1167" y="166414"/>
                  <a:pt x="1513" y="166081"/>
                  <a:pt x="1513" y="165664"/>
                </a:cubicBezTo>
                <a:lnTo>
                  <a:pt x="1513" y="751"/>
                </a:lnTo>
                <a:cubicBezTo>
                  <a:pt x="1513" y="334"/>
                  <a:pt x="1167" y="1"/>
                  <a:pt x="751" y="1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grpSp>
        <p:nvGrpSpPr>
          <p:cNvPr id="8" name="Google Shape;338;p19">
            <a:extLst>
              <a:ext uri="{FF2B5EF4-FFF2-40B4-BE49-F238E27FC236}">
                <a16:creationId xmlns:a16="http://schemas.microsoft.com/office/drawing/2014/main" id="{B074DB79-C097-53BC-5210-BB95DA6E04BF}"/>
              </a:ext>
            </a:extLst>
          </p:cNvPr>
          <p:cNvGrpSpPr/>
          <p:nvPr/>
        </p:nvGrpSpPr>
        <p:grpSpPr>
          <a:xfrm>
            <a:off x="6374003" y="3627360"/>
            <a:ext cx="2078594" cy="979496"/>
            <a:chOff x="2723278" y="3623609"/>
            <a:chExt cx="2078594" cy="979496"/>
          </a:xfrm>
        </p:grpSpPr>
        <p:sp>
          <p:nvSpPr>
            <p:cNvPr id="9" name="Google Shape;339;p19">
              <a:extLst>
                <a:ext uri="{FF2B5EF4-FFF2-40B4-BE49-F238E27FC236}">
                  <a16:creationId xmlns:a16="http://schemas.microsoft.com/office/drawing/2014/main" id="{8925CA10-1110-6665-B945-65EB780010E2}"/>
                </a:ext>
              </a:extLst>
            </p:cNvPr>
            <p:cNvSpPr/>
            <p:nvPr/>
          </p:nvSpPr>
          <p:spPr>
            <a:xfrm>
              <a:off x="2723278" y="3642186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0"/>
                  </a:moveTo>
                  <a:cubicBezTo>
                    <a:pt x="16310" y="0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6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4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50" y="18958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89"/>
                    <a:pt x="8020" y="16325"/>
                    <a:pt x="8743" y="16325"/>
                  </a:cubicBezTo>
                  <a:cubicBezTo>
                    <a:pt x="8765" y="16325"/>
                    <a:pt x="8788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69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6"/>
                    <a:pt x="47570" y="25126"/>
                  </a:cubicBezTo>
                  <a:cubicBezTo>
                    <a:pt x="49509" y="25126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3"/>
                    <a:pt x="50245" y="1050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0"/>
                    <a:pt x="18228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340;p19">
              <a:extLst>
                <a:ext uri="{FF2B5EF4-FFF2-40B4-BE49-F238E27FC236}">
                  <a16:creationId xmlns:a16="http://schemas.microsoft.com/office/drawing/2014/main" id="{0906E6F3-139D-7609-195B-DA03E6A6FD27}"/>
                </a:ext>
              </a:extLst>
            </p:cNvPr>
            <p:cNvSpPr/>
            <p:nvPr/>
          </p:nvSpPr>
          <p:spPr>
            <a:xfrm>
              <a:off x="4624272" y="3879385"/>
              <a:ext cx="177598" cy="256288"/>
            </a:xfrm>
            <a:custGeom>
              <a:avLst/>
              <a:gdLst/>
              <a:ahLst/>
              <a:cxnLst/>
              <a:rect l="l" t="t" r="r" b="b"/>
              <a:pathLst>
                <a:path w="4644" h="6025" extrusionOk="0">
                  <a:moveTo>
                    <a:pt x="0" y="0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3"/>
                  </a:cubicBezTo>
                  <a:cubicBezTo>
                    <a:pt x="3215" y="346"/>
                    <a:pt x="2465" y="0"/>
                    <a:pt x="164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1" name="Google Shape;341;p19">
              <a:extLst>
                <a:ext uri="{FF2B5EF4-FFF2-40B4-BE49-F238E27FC236}">
                  <a16:creationId xmlns:a16="http://schemas.microsoft.com/office/drawing/2014/main" id="{84C4A120-70DA-A173-FED8-A5998721CA38}"/>
                </a:ext>
              </a:extLst>
            </p:cNvPr>
            <p:cNvSpPr/>
            <p:nvPr/>
          </p:nvSpPr>
          <p:spPr>
            <a:xfrm>
              <a:off x="2725573" y="3624059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0"/>
                  </a:moveTo>
                  <a:cubicBezTo>
                    <a:pt x="15633" y="0"/>
                    <a:pt x="14037" y="1596"/>
                    <a:pt x="14037" y="3548"/>
                  </a:cubicBezTo>
                  <a:lnTo>
                    <a:pt x="14037" y="12716"/>
                  </a:lnTo>
                  <a:cubicBezTo>
                    <a:pt x="14037" y="13847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59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1"/>
                    <a:pt x="3739" y="19431"/>
                  </a:cubicBezTo>
                  <a:cubicBezTo>
                    <a:pt x="5084" y="19431"/>
                    <a:pt x="6275" y="18705"/>
                    <a:pt x="6929" y="17633"/>
                  </a:cubicBezTo>
                  <a:cubicBezTo>
                    <a:pt x="7287" y="17026"/>
                    <a:pt x="7941" y="16633"/>
                    <a:pt x="8692" y="16633"/>
                  </a:cubicBezTo>
                  <a:lnTo>
                    <a:pt x="11990" y="16633"/>
                  </a:lnTo>
                  <a:cubicBezTo>
                    <a:pt x="13121" y="16633"/>
                    <a:pt x="14037" y="17538"/>
                    <a:pt x="14037" y="18669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48"/>
                  </a:lnTo>
                  <a:cubicBezTo>
                    <a:pt x="50721" y="1596"/>
                    <a:pt x="49137" y="0"/>
                    <a:pt x="47173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2" name="Google Shape;342;p19">
              <a:extLst>
                <a:ext uri="{FF2B5EF4-FFF2-40B4-BE49-F238E27FC236}">
                  <a16:creationId xmlns:a16="http://schemas.microsoft.com/office/drawing/2014/main" id="{B834AEBE-67E0-14A7-CC93-C735E7163B8D}"/>
                </a:ext>
              </a:extLst>
            </p:cNvPr>
            <p:cNvSpPr/>
            <p:nvPr/>
          </p:nvSpPr>
          <p:spPr>
            <a:xfrm>
              <a:off x="2752419" y="410805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3" name="Google Shape;343;p19">
              <a:extLst>
                <a:ext uri="{FF2B5EF4-FFF2-40B4-BE49-F238E27FC236}">
                  <a16:creationId xmlns:a16="http://schemas.microsoft.com/office/drawing/2014/main" id="{86409286-4934-7671-5489-252DF7A4ED49}"/>
                </a:ext>
              </a:extLst>
            </p:cNvPr>
            <p:cNvSpPr/>
            <p:nvPr/>
          </p:nvSpPr>
          <p:spPr>
            <a:xfrm>
              <a:off x="3195458" y="3654023"/>
              <a:ext cx="1606414" cy="368715"/>
            </a:xfrm>
            <a:custGeom>
              <a:avLst/>
              <a:gdLst/>
              <a:ahLst/>
              <a:cxnLst/>
              <a:rect l="l" t="t" r="r" b="b"/>
              <a:pathLst>
                <a:path w="42006" h="8668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4"/>
                    <a:pt x="0" y="2893"/>
                    <a:pt x="0" y="3012"/>
                  </a:cubicBezTo>
                  <a:cubicBezTo>
                    <a:pt x="0" y="4667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7"/>
                    <a:pt x="41982" y="8668"/>
                  </a:cubicBezTo>
                  <a:lnTo>
                    <a:pt x="42005" y="8311"/>
                  </a:lnTo>
                  <a:lnTo>
                    <a:pt x="42005" y="3012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5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344;p19">
              <a:extLst>
                <a:ext uri="{FF2B5EF4-FFF2-40B4-BE49-F238E27FC236}">
                  <a16:creationId xmlns:a16="http://schemas.microsoft.com/office/drawing/2014/main" id="{92DFED7A-21BD-E3D5-1B8A-CDD2DECD66BC}"/>
                </a:ext>
              </a:extLst>
            </p:cNvPr>
            <p:cNvSpPr/>
            <p:nvPr/>
          </p:nvSpPr>
          <p:spPr>
            <a:xfrm>
              <a:off x="3195458" y="3623609"/>
              <a:ext cx="1606414" cy="383943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59"/>
                    <a:pt x="41124" y="6906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29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5" name="Google Shape;345;p19">
              <a:extLst>
                <a:ext uri="{FF2B5EF4-FFF2-40B4-BE49-F238E27FC236}">
                  <a16:creationId xmlns:a16="http://schemas.microsoft.com/office/drawing/2014/main" id="{6CD84315-A122-FEF7-7737-0C5BC7B7AE70}"/>
                </a:ext>
              </a:extLst>
            </p:cNvPr>
            <p:cNvSpPr txBox="1"/>
            <p:nvPr/>
          </p:nvSpPr>
          <p:spPr>
            <a:xfrm>
              <a:off x="3265722" y="3955988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Make sure output solves prompts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6" name="Google Shape;346;p19">
              <a:extLst>
                <a:ext uri="{FF2B5EF4-FFF2-40B4-BE49-F238E27FC236}">
                  <a16:creationId xmlns:a16="http://schemas.microsoft.com/office/drawing/2014/main" id="{61BEBF24-5F49-AB7A-15D1-508CEE6C9DD8}"/>
                </a:ext>
              </a:extLst>
            </p:cNvPr>
            <p:cNvSpPr txBox="1"/>
            <p:nvPr/>
          </p:nvSpPr>
          <p:spPr>
            <a:xfrm>
              <a:off x="3195450" y="36238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est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17" name="Google Shape;347;p19">
            <a:extLst>
              <a:ext uri="{FF2B5EF4-FFF2-40B4-BE49-F238E27FC236}">
                <a16:creationId xmlns:a16="http://schemas.microsoft.com/office/drawing/2014/main" id="{2C78506E-A503-BD61-6D94-1C8F5486D44E}"/>
              </a:ext>
            </a:extLst>
          </p:cNvPr>
          <p:cNvGrpSpPr/>
          <p:nvPr/>
        </p:nvGrpSpPr>
        <p:grpSpPr>
          <a:xfrm>
            <a:off x="6374003" y="2391176"/>
            <a:ext cx="2078594" cy="979041"/>
            <a:chOff x="2723278" y="2387425"/>
            <a:chExt cx="2078594" cy="979041"/>
          </a:xfrm>
        </p:grpSpPr>
        <p:sp>
          <p:nvSpPr>
            <p:cNvPr id="18" name="Google Shape;348;p19">
              <a:extLst>
                <a:ext uri="{FF2B5EF4-FFF2-40B4-BE49-F238E27FC236}">
                  <a16:creationId xmlns:a16="http://schemas.microsoft.com/office/drawing/2014/main" id="{18E69FBC-3E13-2EE9-8FB7-B3FCF4AA8B04}"/>
                </a:ext>
              </a:extLst>
            </p:cNvPr>
            <p:cNvSpPr/>
            <p:nvPr/>
          </p:nvSpPr>
          <p:spPr>
            <a:xfrm>
              <a:off x="2723278" y="240554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49" y="1"/>
                  </a:moveTo>
                  <a:cubicBezTo>
                    <a:pt x="16321" y="1"/>
                    <a:pt x="14715" y="1515"/>
                    <a:pt x="14657" y="3431"/>
                  </a:cubicBezTo>
                  <a:lnTo>
                    <a:pt x="14348" y="12599"/>
                  </a:lnTo>
                  <a:cubicBezTo>
                    <a:pt x="14312" y="13708"/>
                    <a:pt x="13396" y="14577"/>
                    <a:pt x="12283" y="14577"/>
                  </a:cubicBezTo>
                  <a:cubicBezTo>
                    <a:pt x="12261" y="14577"/>
                    <a:pt x="12239" y="14576"/>
                    <a:pt x="12216" y="14576"/>
                  </a:cubicBezTo>
                  <a:lnTo>
                    <a:pt x="8871" y="14468"/>
                  </a:lnTo>
                  <a:cubicBezTo>
                    <a:pt x="8121" y="14433"/>
                    <a:pt x="7466" y="14016"/>
                    <a:pt x="7132" y="13397"/>
                  </a:cubicBezTo>
                  <a:cubicBezTo>
                    <a:pt x="6501" y="12301"/>
                    <a:pt x="5334" y="11539"/>
                    <a:pt x="3965" y="11504"/>
                  </a:cubicBezTo>
                  <a:cubicBezTo>
                    <a:pt x="3921" y="11502"/>
                    <a:pt x="3876" y="11501"/>
                    <a:pt x="3832" y="11501"/>
                  </a:cubicBezTo>
                  <a:cubicBezTo>
                    <a:pt x="1807" y="11501"/>
                    <a:pt x="130" y="13084"/>
                    <a:pt x="60" y="15099"/>
                  </a:cubicBezTo>
                  <a:cubicBezTo>
                    <a:pt x="0" y="17159"/>
                    <a:pt x="1632" y="18886"/>
                    <a:pt x="3715" y="18957"/>
                  </a:cubicBezTo>
                  <a:cubicBezTo>
                    <a:pt x="3760" y="18959"/>
                    <a:pt x="3806" y="18959"/>
                    <a:pt x="3850" y="18959"/>
                  </a:cubicBezTo>
                  <a:cubicBezTo>
                    <a:pt x="5164" y="18959"/>
                    <a:pt x="6322" y="18291"/>
                    <a:pt x="7001" y="17266"/>
                  </a:cubicBezTo>
                  <a:cubicBezTo>
                    <a:pt x="7371" y="16700"/>
                    <a:pt x="8021" y="16325"/>
                    <a:pt x="8745" y="16325"/>
                  </a:cubicBezTo>
                  <a:cubicBezTo>
                    <a:pt x="8767" y="16325"/>
                    <a:pt x="8789" y="16325"/>
                    <a:pt x="8811" y="16326"/>
                  </a:cubicBezTo>
                  <a:lnTo>
                    <a:pt x="12157" y="16433"/>
                  </a:lnTo>
                  <a:cubicBezTo>
                    <a:pt x="13300" y="16469"/>
                    <a:pt x="14193" y="17421"/>
                    <a:pt x="14157" y="18540"/>
                  </a:cubicBezTo>
                  <a:lnTo>
                    <a:pt x="14097" y="20481"/>
                  </a:lnTo>
                  <a:cubicBezTo>
                    <a:pt x="14026" y="22434"/>
                    <a:pt x="15586" y="24077"/>
                    <a:pt x="17562" y="24148"/>
                  </a:cubicBezTo>
                  <a:lnTo>
                    <a:pt x="47459" y="25124"/>
                  </a:lnTo>
                  <a:cubicBezTo>
                    <a:pt x="47503" y="25126"/>
                    <a:pt x="47548" y="25127"/>
                    <a:pt x="47592" y="25127"/>
                  </a:cubicBezTo>
                  <a:cubicBezTo>
                    <a:pt x="49520" y="25127"/>
                    <a:pt x="51104" y="23616"/>
                    <a:pt x="51174" y="21695"/>
                  </a:cubicBezTo>
                  <a:lnTo>
                    <a:pt x="51733" y="4658"/>
                  </a:lnTo>
                  <a:cubicBezTo>
                    <a:pt x="51793" y="2693"/>
                    <a:pt x="50245" y="1050"/>
                    <a:pt x="48257" y="991"/>
                  </a:cubicBezTo>
                  <a:lnTo>
                    <a:pt x="18360" y="2"/>
                  </a:lnTo>
                  <a:cubicBezTo>
                    <a:pt x="18323" y="1"/>
                    <a:pt x="18286" y="1"/>
                    <a:pt x="18249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349;p19">
              <a:extLst>
                <a:ext uri="{FF2B5EF4-FFF2-40B4-BE49-F238E27FC236}">
                  <a16:creationId xmlns:a16="http://schemas.microsoft.com/office/drawing/2014/main" id="{010DEEC5-A79E-ABDD-11EB-A0B695831937}"/>
                </a:ext>
              </a:extLst>
            </p:cNvPr>
            <p:cNvSpPr/>
            <p:nvPr/>
          </p:nvSpPr>
          <p:spPr>
            <a:xfrm>
              <a:off x="4624272" y="264341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0" y="1"/>
                  </a:moveTo>
                  <a:lnTo>
                    <a:pt x="0" y="6014"/>
                  </a:lnTo>
                  <a:lnTo>
                    <a:pt x="1643" y="6014"/>
                  </a:lnTo>
                  <a:cubicBezTo>
                    <a:pt x="3298" y="6014"/>
                    <a:pt x="4643" y="4668"/>
                    <a:pt x="4643" y="3001"/>
                  </a:cubicBezTo>
                  <a:cubicBezTo>
                    <a:pt x="4643" y="2180"/>
                    <a:pt x="4310" y="1430"/>
                    <a:pt x="3762" y="882"/>
                  </a:cubicBezTo>
                  <a:cubicBezTo>
                    <a:pt x="3215" y="334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0" name="Google Shape;350;p19">
              <a:extLst>
                <a:ext uri="{FF2B5EF4-FFF2-40B4-BE49-F238E27FC236}">
                  <a16:creationId xmlns:a16="http://schemas.microsoft.com/office/drawing/2014/main" id="{C0386103-0374-8EAA-D897-EB6A769E0CE7}"/>
                </a:ext>
              </a:extLst>
            </p:cNvPr>
            <p:cNvSpPr/>
            <p:nvPr/>
          </p:nvSpPr>
          <p:spPr>
            <a:xfrm>
              <a:off x="2725573" y="2387840"/>
              <a:ext cx="1939698" cy="923442"/>
            </a:xfrm>
            <a:custGeom>
              <a:avLst/>
              <a:gdLst/>
              <a:ahLst/>
              <a:cxnLst/>
              <a:rect l="l" t="t" r="r" b="b"/>
              <a:pathLst>
                <a:path w="50721" h="24147" extrusionOk="0">
                  <a:moveTo>
                    <a:pt x="17597" y="1"/>
                  </a:moveTo>
                  <a:cubicBezTo>
                    <a:pt x="15633" y="1"/>
                    <a:pt x="14037" y="1585"/>
                    <a:pt x="14037" y="3549"/>
                  </a:cubicBezTo>
                  <a:lnTo>
                    <a:pt x="14037" y="12717"/>
                  </a:lnTo>
                  <a:cubicBezTo>
                    <a:pt x="14037" y="13848"/>
                    <a:pt x="13121" y="14765"/>
                    <a:pt x="11990" y="14765"/>
                  </a:cubicBezTo>
                  <a:lnTo>
                    <a:pt x="8692" y="14765"/>
                  </a:lnTo>
                  <a:cubicBezTo>
                    <a:pt x="7941" y="14765"/>
                    <a:pt x="7287" y="14360"/>
                    <a:pt x="6929" y="13753"/>
                  </a:cubicBezTo>
                  <a:cubicBezTo>
                    <a:pt x="6275" y="12681"/>
                    <a:pt x="5084" y="11955"/>
                    <a:pt x="3739" y="11955"/>
                  </a:cubicBezTo>
                  <a:cubicBezTo>
                    <a:pt x="1679" y="11955"/>
                    <a:pt x="0" y="13634"/>
                    <a:pt x="0" y="15693"/>
                  </a:cubicBezTo>
                  <a:cubicBezTo>
                    <a:pt x="0" y="17753"/>
                    <a:pt x="1679" y="19420"/>
                    <a:pt x="3739" y="19420"/>
                  </a:cubicBezTo>
                  <a:cubicBezTo>
                    <a:pt x="5084" y="19420"/>
                    <a:pt x="6275" y="18706"/>
                    <a:pt x="6929" y="17622"/>
                  </a:cubicBezTo>
                  <a:cubicBezTo>
                    <a:pt x="7287" y="17027"/>
                    <a:pt x="7941" y="16622"/>
                    <a:pt x="8692" y="16622"/>
                  </a:cubicBezTo>
                  <a:lnTo>
                    <a:pt x="11990" y="16622"/>
                  </a:lnTo>
                  <a:cubicBezTo>
                    <a:pt x="13121" y="16622"/>
                    <a:pt x="14037" y="17539"/>
                    <a:pt x="14037" y="18670"/>
                  </a:cubicBezTo>
                  <a:lnTo>
                    <a:pt x="14037" y="20599"/>
                  </a:lnTo>
                  <a:cubicBezTo>
                    <a:pt x="14037" y="22551"/>
                    <a:pt x="15633" y="24147"/>
                    <a:pt x="17597" y="24147"/>
                  </a:cubicBezTo>
                  <a:lnTo>
                    <a:pt x="47173" y="24147"/>
                  </a:lnTo>
                  <a:cubicBezTo>
                    <a:pt x="49137" y="24147"/>
                    <a:pt x="50721" y="22551"/>
                    <a:pt x="50721" y="20599"/>
                  </a:cubicBezTo>
                  <a:lnTo>
                    <a:pt x="50721" y="3549"/>
                  </a:lnTo>
                  <a:cubicBezTo>
                    <a:pt x="50721" y="1585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1" name="Google Shape;351;p19">
              <a:extLst>
                <a:ext uri="{FF2B5EF4-FFF2-40B4-BE49-F238E27FC236}">
                  <a16:creationId xmlns:a16="http://schemas.microsoft.com/office/drawing/2014/main" id="{0F9E0DF7-73DD-BD0E-B8EF-9C7B360CAD62}"/>
                </a:ext>
              </a:extLst>
            </p:cNvPr>
            <p:cNvSpPr/>
            <p:nvPr/>
          </p:nvSpPr>
          <p:spPr>
            <a:xfrm>
              <a:off x="2752419" y="2871873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0"/>
                  </a:moveTo>
                  <a:cubicBezTo>
                    <a:pt x="1358" y="0"/>
                    <a:pt x="0" y="1358"/>
                    <a:pt x="0" y="3036"/>
                  </a:cubicBezTo>
                  <a:cubicBezTo>
                    <a:pt x="0" y="4715"/>
                    <a:pt x="1358" y="6072"/>
                    <a:pt x="3037" y="6072"/>
                  </a:cubicBezTo>
                  <a:cubicBezTo>
                    <a:pt x="4715" y="6072"/>
                    <a:pt x="6073" y="4715"/>
                    <a:pt x="6073" y="3036"/>
                  </a:cubicBezTo>
                  <a:cubicBezTo>
                    <a:pt x="6073" y="1358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352;p19">
              <a:extLst>
                <a:ext uri="{FF2B5EF4-FFF2-40B4-BE49-F238E27FC236}">
                  <a16:creationId xmlns:a16="http://schemas.microsoft.com/office/drawing/2014/main" id="{BE1E2195-21A6-BB86-3C83-F18FD79DF686}"/>
                </a:ext>
              </a:extLst>
            </p:cNvPr>
            <p:cNvSpPr/>
            <p:nvPr/>
          </p:nvSpPr>
          <p:spPr>
            <a:xfrm>
              <a:off x="3195458" y="241731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1465" y="1"/>
                    <a:pt x="191" y="1168"/>
                    <a:pt x="12" y="2656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80"/>
                    <a:pt x="1346" y="6025"/>
                    <a:pt x="3001" y="6025"/>
                  </a:cubicBezTo>
                  <a:lnTo>
                    <a:pt x="39005" y="6025"/>
                  </a:lnTo>
                  <a:cubicBezTo>
                    <a:pt x="39827" y="6025"/>
                    <a:pt x="40589" y="6359"/>
                    <a:pt x="41124" y="6906"/>
                  </a:cubicBezTo>
                  <a:cubicBezTo>
                    <a:pt x="41589" y="7371"/>
                    <a:pt x="41898" y="7990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92"/>
                    <a:pt x="41672" y="1430"/>
                    <a:pt x="41124" y="894"/>
                  </a:cubicBezTo>
                  <a:cubicBezTo>
                    <a:pt x="40589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3" name="Google Shape;353;p19">
              <a:extLst>
                <a:ext uri="{FF2B5EF4-FFF2-40B4-BE49-F238E27FC236}">
                  <a16:creationId xmlns:a16="http://schemas.microsoft.com/office/drawing/2014/main" id="{43A4A958-CE97-F05E-A352-0D4F34078236}"/>
                </a:ext>
              </a:extLst>
            </p:cNvPr>
            <p:cNvSpPr/>
            <p:nvPr/>
          </p:nvSpPr>
          <p:spPr>
            <a:xfrm>
              <a:off x="3195458" y="2387428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1346" y="0"/>
                    <a:pt x="0" y="1346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77" y="6346"/>
                    <a:pt x="41124" y="6894"/>
                  </a:cubicBezTo>
                  <a:cubicBezTo>
                    <a:pt x="41672" y="7442"/>
                    <a:pt x="42005" y="8192"/>
                    <a:pt x="42005" y="9013"/>
                  </a:cubicBez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77" y="334"/>
                    <a:pt x="39827" y="0"/>
                    <a:pt x="39005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4" name="Google Shape;354;p19">
              <a:extLst>
                <a:ext uri="{FF2B5EF4-FFF2-40B4-BE49-F238E27FC236}">
                  <a16:creationId xmlns:a16="http://schemas.microsoft.com/office/drawing/2014/main" id="{166320F0-CCB3-F892-39B4-120280EC6791}"/>
                </a:ext>
              </a:extLst>
            </p:cNvPr>
            <p:cNvSpPr txBox="1"/>
            <p:nvPr/>
          </p:nvSpPr>
          <p:spPr>
            <a:xfrm>
              <a:off x="3265722" y="271575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Train model with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25" name="Google Shape;355;p19">
              <a:extLst>
                <a:ext uri="{FF2B5EF4-FFF2-40B4-BE49-F238E27FC236}">
                  <a16:creationId xmlns:a16="http://schemas.microsoft.com/office/drawing/2014/main" id="{0AB07A8E-6132-3718-E204-6EC03DB0058F}"/>
                </a:ext>
              </a:extLst>
            </p:cNvPr>
            <p:cNvSpPr txBox="1"/>
            <p:nvPr/>
          </p:nvSpPr>
          <p:spPr>
            <a:xfrm>
              <a:off x="3195450" y="2387425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Train Model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26" name="Google Shape;356;p19">
            <a:extLst>
              <a:ext uri="{FF2B5EF4-FFF2-40B4-BE49-F238E27FC236}">
                <a16:creationId xmlns:a16="http://schemas.microsoft.com/office/drawing/2014/main" id="{363CB442-5B41-9EA5-3609-0A6BFB101BCF}"/>
              </a:ext>
            </a:extLst>
          </p:cNvPr>
          <p:cNvGrpSpPr/>
          <p:nvPr/>
        </p:nvGrpSpPr>
        <p:grpSpPr>
          <a:xfrm>
            <a:off x="6374003" y="1154501"/>
            <a:ext cx="2078594" cy="979497"/>
            <a:chOff x="2723278" y="1150750"/>
            <a:chExt cx="2078594" cy="979497"/>
          </a:xfrm>
        </p:grpSpPr>
        <p:sp>
          <p:nvSpPr>
            <p:cNvPr id="27" name="Google Shape;357;p19">
              <a:extLst>
                <a:ext uri="{FF2B5EF4-FFF2-40B4-BE49-F238E27FC236}">
                  <a16:creationId xmlns:a16="http://schemas.microsoft.com/office/drawing/2014/main" id="{EE00E48D-BEF0-D033-3ED3-3FA5486E19CE}"/>
                </a:ext>
              </a:extLst>
            </p:cNvPr>
            <p:cNvSpPr/>
            <p:nvPr/>
          </p:nvSpPr>
          <p:spPr>
            <a:xfrm>
              <a:off x="2723278" y="1169328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18228" y="1"/>
                  </a:moveTo>
                  <a:cubicBezTo>
                    <a:pt x="16310" y="1"/>
                    <a:pt x="14715" y="1511"/>
                    <a:pt x="14657" y="3432"/>
                  </a:cubicBezTo>
                  <a:lnTo>
                    <a:pt x="14348" y="12588"/>
                  </a:lnTo>
                  <a:cubicBezTo>
                    <a:pt x="14312" y="13697"/>
                    <a:pt x="13396" y="14565"/>
                    <a:pt x="12283" y="14565"/>
                  </a:cubicBezTo>
                  <a:cubicBezTo>
                    <a:pt x="12261" y="14565"/>
                    <a:pt x="12239" y="14565"/>
                    <a:pt x="12216" y="14564"/>
                  </a:cubicBezTo>
                  <a:lnTo>
                    <a:pt x="8871" y="14457"/>
                  </a:lnTo>
                  <a:cubicBezTo>
                    <a:pt x="8121" y="14433"/>
                    <a:pt x="7466" y="14005"/>
                    <a:pt x="7132" y="13397"/>
                  </a:cubicBezTo>
                  <a:cubicBezTo>
                    <a:pt x="6501" y="12302"/>
                    <a:pt x="5334" y="11540"/>
                    <a:pt x="3965" y="11492"/>
                  </a:cubicBezTo>
                  <a:cubicBezTo>
                    <a:pt x="3921" y="11491"/>
                    <a:pt x="3877" y="11490"/>
                    <a:pt x="3833" y="11490"/>
                  </a:cubicBezTo>
                  <a:cubicBezTo>
                    <a:pt x="1808" y="11490"/>
                    <a:pt x="130" y="13084"/>
                    <a:pt x="60" y="15100"/>
                  </a:cubicBezTo>
                  <a:cubicBezTo>
                    <a:pt x="0" y="17160"/>
                    <a:pt x="1632" y="18886"/>
                    <a:pt x="3715" y="18958"/>
                  </a:cubicBezTo>
                  <a:cubicBezTo>
                    <a:pt x="3750" y="18959"/>
                    <a:pt x="3784" y="18959"/>
                    <a:pt x="3818" y="18959"/>
                  </a:cubicBezTo>
                  <a:cubicBezTo>
                    <a:pt x="5145" y="18959"/>
                    <a:pt x="6317" y="18288"/>
                    <a:pt x="7001" y="17267"/>
                  </a:cubicBezTo>
                  <a:cubicBezTo>
                    <a:pt x="7371" y="16690"/>
                    <a:pt x="8020" y="16325"/>
                    <a:pt x="8743" y="16325"/>
                  </a:cubicBezTo>
                  <a:cubicBezTo>
                    <a:pt x="8765" y="16325"/>
                    <a:pt x="8788" y="16326"/>
                    <a:pt x="8811" y="16326"/>
                  </a:cubicBezTo>
                  <a:lnTo>
                    <a:pt x="12157" y="16434"/>
                  </a:lnTo>
                  <a:cubicBezTo>
                    <a:pt x="13300" y="16469"/>
                    <a:pt x="14193" y="17410"/>
                    <a:pt x="14157" y="18541"/>
                  </a:cubicBezTo>
                  <a:lnTo>
                    <a:pt x="14097" y="20470"/>
                  </a:lnTo>
                  <a:cubicBezTo>
                    <a:pt x="14026" y="22434"/>
                    <a:pt x="15586" y="24077"/>
                    <a:pt x="17562" y="24137"/>
                  </a:cubicBezTo>
                  <a:lnTo>
                    <a:pt x="47459" y="25125"/>
                  </a:lnTo>
                  <a:cubicBezTo>
                    <a:pt x="47496" y="25126"/>
                    <a:pt x="47533" y="25127"/>
                    <a:pt x="47570" y="25127"/>
                  </a:cubicBezTo>
                  <a:cubicBezTo>
                    <a:pt x="49509" y="25127"/>
                    <a:pt x="51103" y="23612"/>
                    <a:pt x="51174" y="21696"/>
                  </a:cubicBezTo>
                  <a:lnTo>
                    <a:pt x="51733" y="4646"/>
                  </a:lnTo>
                  <a:cubicBezTo>
                    <a:pt x="51793" y="2694"/>
                    <a:pt x="50245" y="1051"/>
                    <a:pt x="48257" y="979"/>
                  </a:cubicBezTo>
                  <a:lnTo>
                    <a:pt x="18360" y="3"/>
                  </a:lnTo>
                  <a:cubicBezTo>
                    <a:pt x="18316" y="1"/>
                    <a:pt x="18271" y="1"/>
                    <a:pt x="18228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358;p19">
              <a:extLst>
                <a:ext uri="{FF2B5EF4-FFF2-40B4-BE49-F238E27FC236}">
                  <a16:creationId xmlns:a16="http://schemas.microsoft.com/office/drawing/2014/main" id="{4C45B391-0EBD-FBC1-E89D-BC4A3C61C49C}"/>
                </a:ext>
              </a:extLst>
            </p:cNvPr>
            <p:cNvSpPr/>
            <p:nvPr/>
          </p:nvSpPr>
          <p:spPr>
            <a:xfrm>
              <a:off x="4624272" y="1406505"/>
              <a:ext cx="177598" cy="256316"/>
            </a:xfrm>
            <a:custGeom>
              <a:avLst/>
              <a:gdLst/>
              <a:ahLst/>
              <a:cxnLst/>
              <a:rect l="l" t="t" r="r" b="b"/>
              <a:pathLst>
                <a:path w="4644" h="6026" extrusionOk="0">
                  <a:moveTo>
                    <a:pt x="0" y="1"/>
                  </a:moveTo>
                  <a:lnTo>
                    <a:pt x="0" y="6025"/>
                  </a:lnTo>
                  <a:lnTo>
                    <a:pt x="1643" y="6025"/>
                  </a:lnTo>
                  <a:cubicBezTo>
                    <a:pt x="3298" y="6025"/>
                    <a:pt x="4643" y="4668"/>
                    <a:pt x="4643" y="3013"/>
                  </a:cubicBezTo>
                  <a:cubicBezTo>
                    <a:pt x="4643" y="2179"/>
                    <a:pt x="4310" y="1429"/>
                    <a:pt x="3762" y="894"/>
                  </a:cubicBezTo>
                  <a:cubicBezTo>
                    <a:pt x="3215" y="346"/>
                    <a:pt x="2465" y="1"/>
                    <a:pt x="1643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9" name="Google Shape;359;p19">
              <a:extLst>
                <a:ext uri="{FF2B5EF4-FFF2-40B4-BE49-F238E27FC236}">
                  <a16:creationId xmlns:a16="http://schemas.microsoft.com/office/drawing/2014/main" id="{735C1EAF-3922-D645-80E5-AF0CF28C0D00}"/>
                </a:ext>
              </a:extLst>
            </p:cNvPr>
            <p:cNvSpPr/>
            <p:nvPr/>
          </p:nvSpPr>
          <p:spPr>
            <a:xfrm>
              <a:off x="2725573" y="1151201"/>
              <a:ext cx="1939698" cy="923901"/>
            </a:xfrm>
            <a:custGeom>
              <a:avLst/>
              <a:gdLst/>
              <a:ahLst/>
              <a:cxnLst/>
              <a:rect l="l" t="t" r="r" b="b"/>
              <a:pathLst>
                <a:path w="50721" h="24159" extrusionOk="0">
                  <a:moveTo>
                    <a:pt x="17597" y="1"/>
                  </a:moveTo>
                  <a:cubicBezTo>
                    <a:pt x="15633" y="1"/>
                    <a:pt x="14037" y="1596"/>
                    <a:pt x="14037" y="3561"/>
                  </a:cubicBezTo>
                  <a:lnTo>
                    <a:pt x="14037" y="12717"/>
                  </a:lnTo>
                  <a:cubicBezTo>
                    <a:pt x="14037" y="13848"/>
                    <a:pt x="13121" y="14764"/>
                    <a:pt x="11990" y="14764"/>
                  </a:cubicBezTo>
                  <a:lnTo>
                    <a:pt x="8692" y="14764"/>
                  </a:lnTo>
                  <a:cubicBezTo>
                    <a:pt x="7941" y="14764"/>
                    <a:pt x="7287" y="14360"/>
                    <a:pt x="6929" y="13764"/>
                  </a:cubicBezTo>
                  <a:cubicBezTo>
                    <a:pt x="6275" y="12681"/>
                    <a:pt x="5084" y="11966"/>
                    <a:pt x="3739" y="11966"/>
                  </a:cubicBezTo>
                  <a:cubicBezTo>
                    <a:pt x="1679" y="11966"/>
                    <a:pt x="0" y="13633"/>
                    <a:pt x="0" y="15693"/>
                  </a:cubicBezTo>
                  <a:cubicBezTo>
                    <a:pt x="0" y="17753"/>
                    <a:pt x="1679" y="19432"/>
                    <a:pt x="3739" y="19432"/>
                  </a:cubicBezTo>
                  <a:cubicBezTo>
                    <a:pt x="5084" y="19432"/>
                    <a:pt x="6275" y="18705"/>
                    <a:pt x="6929" y="17634"/>
                  </a:cubicBezTo>
                  <a:cubicBezTo>
                    <a:pt x="7287" y="17027"/>
                    <a:pt x="7941" y="16634"/>
                    <a:pt x="8692" y="16634"/>
                  </a:cubicBezTo>
                  <a:lnTo>
                    <a:pt x="11990" y="16634"/>
                  </a:lnTo>
                  <a:cubicBezTo>
                    <a:pt x="13121" y="16634"/>
                    <a:pt x="14037" y="17539"/>
                    <a:pt x="14037" y="18670"/>
                  </a:cubicBezTo>
                  <a:lnTo>
                    <a:pt x="14037" y="20598"/>
                  </a:lnTo>
                  <a:cubicBezTo>
                    <a:pt x="14037" y="22563"/>
                    <a:pt x="15633" y="24158"/>
                    <a:pt x="17597" y="24158"/>
                  </a:cubicBezTo>
                  <a:lnTo>
                    <a:pt x="47173" y="24158"/>
                  </a:lnTo>
                  <a:cubicBezTo>
                    <a:pt x="49137" y="24158"/>
                    <a:pt x="50721" y="22563"/>
                    <a:pt x="50721" y="20598"/>
                  </a:cubicBezTo>
                  <a:lnTo>
                    <a:pt x="50721" y="3561"/>
                  </a:lnTo>
                  <a:cubicBezTo>
                    <a:pt x="50721" y="1596"/>
                    <a:pt x="49137" y="1"/>
                    <a:pt x="47173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0" name="Google Shape;360;p19">
              <a:extLst>
                <a:ext uri="{FF2B5EF4-FFF2-40B4-BE49-F238E27FC236}">
                  <a16:creationId xmlns:a16="http://schemas.microsoft.com/office/drawing/2014/main" id="{B0250220-4F43-94EC-5479-D17FB1FEAF20}"/>
                </a:ext>
              </a:extLst>
            </p:cNvPr>
            <p:cNvSpPr/>
            <p:nvPr/>
          </p:nvSpPr>
          <p:spPr>
            <a:xfrm>
              <a:off x="2752419" y="1635195"/>
              <a:ext cx="232247" cy="232285"/>
            </a:xfrm>
            <a:custGeom>
              <a:avLst/>
              <a:gdLst/>
              <a:ahLst/>
              <a:cxnLst/>
              <a:rect l="l" t="t" r="r" b="b"/>
              <a:pathLst>
                <a:path w="6073" h="6074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1" name="Google Shape;361;p19">
              <a:extLst>
                <a:ext uri="{FF2B5EF4-FFF2-40B4-BE49-F238E27FC236}">
                  <a16:creationId xmlns:a16="http://schemas.microsoft.com/office/drawing/2014/main" id="{B9C2E377-FBB7-BACE-D669-75B840CC9687}"/>
                </a:ext>
              </a:extLst>
            </p:cNvPr>
            <p:cNvSpPr/>
            <p:nvPr/>
          </p:nvSpPr>
          <p:spPr>
            <a:xfrm>
              <a:off x="3195458" y="1181162"/>
              <a:ext cx="1606414" cy="36873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1465" y="0"/>
                    <a:pt x="191" y="1155"/>
                    <a:pt x="12" y="2655"/>
                  </a:cubicBezTo>
                  <a:cubicBezTo>
                    <a:pt x="0" y="2775"/>
                    <a:pt x="0" y="2894"/>
                    <a:pt x="0" y="3013"/>
                  </a:cubicBezTo>
                  <a:cubicBezTo>
                    <a:pt x="0" y="4668"/>
                    <a:pt x="1346" y="6013"/>
                    <a:pt x="3001" y="6013"/>
                  </a:cubicBezTo>
                  <a:lnTo>
                    <a:pt x="39005" y="6013"/>
                  </a:lnTo>
                  <a:cubicBezTo>
                    <a:pt x="39827" y="6013"/>
                    <a:pt x="40589" y="6358"/>
                    <a:pt x="41124" y="6894"/>
                  </a:cubicBezTo>
                  <a:cubicBezTo>
                    <a:pt x="41589" y="7358"/>
                    <a:pt x="41898" y="7978"/>
                    <a:pt x="41982" y="8668"/>
                  </a:cubicBezTo>
                  <a:lnTo>
                    <a:pt x="42005" y="8311"/>
                  </a:lnTo>
                  <a:lnTo>
                    <a:pt x="42005" y="3013"/>
                  </a:lnTo>
                  <a:cubicBezTo>
                    <a:pt x="42005" y="2179"/>
                    <a:pt x="41672" y="1429"/>
                    <a:pt x="41124" y="881"/>
                  </a:cubicBezTo>
                  <a:cubicBezTo>
                    <a:pt x="40589" y="346"/>
                    <a:pt x="39827" y="0"/>
                    <a:pt x="39005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2" name="Google Shape;362;p19">
              <a:extLst>
                <a:ext uri="{FF2B5EF4-FFF2-40B4-BE49-F238E27FC236}">
                  <a16:creationId xmlns:a16="http://schemas.microsoft.com/office/drawing/2014/main" id="{4A81ED20-F49E-7F84-EA78-2BF1B239E57E}"/>
                </a:ext>
              </a:extLst>
            </p:cNvPr>
            <p:cNvSpPr/>
            <p:nvPr/>
          </p:nvSpPr>
          <p:spPr>
            <a:xfrm>
              <a:off x="3195458" y="1150750"/>
              <a:ext cx="1606414" cy="383921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1346" y="1"/>
                    <a:pt x="0" y="1346"/>
                    <a:pt x="0" y="3013"/>
                  </a:cubicBezTo>
                  <a:cubicBezTo>
                    <a:pt x="0" y="4668"/>
                    <a:pt x="1346" y="6014"/>
                    <a:pt x="3001" y="6014"/>
                  </a:cubicBezTo>
                  <a:lnTo>
                    <a:pt x="39005" y="6014"/>
                  </a:lnTo>
                  <a:cubicBezTo>
                    <a:pt x="39827" y="6014"/>
                    <a:pt x="40577" y="6359"/>
                    <a:pt x="41124" y="6907"/>
                  </a:cubicBezTo>
                  <a:cubicBezTo>
                    <a:pt x="41672" y="7442"/>
                    <a:pt x="42005" y="8192"/>
                    <a:pt x="42005" y="9026"/>
                  </a:cubicBezTo>
                  <a:lnTo>
                    <a:pt x="42005" y="3013"/>
                  </a:lnTo>
                  <a:cubicBezTo>
                    <a:pt x="42005" y="2180"/>
                    <a:pt x="41672" y="1430"/>
                    <a:pt x="41124" y="882"/>
                  </a:cubicBezTo>
                  <a:cubicBezTo>
                    <a:pt x="40577" y="346"/>
                    <a:pt x="39827" y="1"/>
                    <a:pt x="39005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3" name="Google Shape;363;p19">
              <a:extLst>
                <a:ext uri="{FF2B5EF4-FFF2-40B4-BE49-F238E27FC236}">
                  <a16:creationId xmlns:a16="http://schemas.microsoft.com/office/drawing/2014/main" id="{BC794B05-5D85-8D8E-35E9-689E5F6C33FA}"/>
                </a:ext>
              </a:extLst>
            </p:cNvPr>
            <p:cNvSpPr txBox="1"/>
            <p:nvPr/>
          </p:nvSpPr>
          <p:spPr>
            <a:xfrm>
              <a:off x="3265722" y="1475500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Put into data frame as one string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grpSp>
        <p:nvGrpSpPr>
          <p:cNvPr id="35" name="Google Shape;365;p19">
            <a:extLst>
              <a:ext uri="{FF2B5EF4-FFF2-40B4-BE49-F238E27FC236}">
                <a16:creationId xmlns:a16="http://schemas.microsoft.com/office/drawing/2014/main" id="{0BADACB9-1085-F688-313B-7C43F818523C}"/>
              </a:ext>
            </a:extLst>
          </p:cNvPr>
          <p:cNvGrpSpPr/>
          <p:nvPr/>
        </p:nvGrpSpPr>
        <p:grpSpPr>
          <a:xfrm>
            <a:off x="4584563" y="536651"/>
            <a:ext cx="2079971" cy="979046"/>
            <a:chOff x="933838" y="532900"/>
            <a:chExt cx="2079971" cy="979046"/>
          </a:xfrm>
        </p:grpSpPr>
        <p:sp>
          <p:nvSpPr>
            <p:cNvPr id="36" name="Google Shape;366;p19">
              <a:extLst>
                <a:ext uri="{FF2B5EF4-FFF2-40B4-BE49-F238E27FC236}">
                  <a16:creationId xmlns:a16="http://schemas.microsoft.com/office/drawing/2014/main" id="{AEAFFB94-29F2-E5C1-D5BD-8F27940CD915}"/>
                </a:ext>
              </a:extLst>
            </p:cNvPr>
            <p:cNvSpPr/>
            <p:nvPr/>
          </p:nvSpPr>
          <p:spPr>
            <a:xfrm>
              <a:off x="1033115" y="551027"/>
              <a:ext cx="1980694" cy="960919"/>
            </a:xfrm>
            <a:custGeom>
              <a:avLst/>
              <a:gdLst/>
              <a:ahLst/>
              <a:cxnLst/>
              <a:rect l="l" t="t" r="r" b="b"/>
              <a:pathLst>
                <a:path w="51793" h="25127" extrusionOk="0">
                  <a:moveTo>
                    <a:pt x="33544" y="1"/>
                  </a:moveTo>
                  <a:cubicBezTo>
                    <a:pt x="33507" y="1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8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6"/>
                    <a:pt x="4322" y="25124"/>
                  </a:cubicBezTo>
                  <a:lnTo>
                    <a:pt x="34231" y="24136"/>
                  </a:lnTo>
                  <a:cubicBezTo>
                    <a:pt x="36207" y="24077"/>
                    <a:pt x="37767" y="22434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26"/>
                  </a:lnTo>
                  <a:cubicBezTo>
                    <a:pt x="43004" y="16325"/>
                    <a:pt x="43026" y="16325"/>
                    <a:pt x="43049" y="16325"/>
                  </a:cubicBezTo>
                  <a:cubicBezTo>
                    <a:pt x="43772" y="16325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9"/>
                    <a:pt x="48078" y="18957"/>
                  </a:cubicBezTo>
                  <a:cubicBezTo>
                    <a:pt x="50162" y="18886"/>
                    <a:pt x="51793" y="17159"/>
                    <a:pt x="51721" y="15099"/>
                  </a:cubicBezTo>
                  <a:cubicBezTo>
                    <a:pt x="51663" y="13077"/>
                    <a:pt x="49974" y="11490"/>
                    <a:pt x="47940" y="11490"/>
                  </a:cubicBezTo>
                  <a:cubicBezTo>
                    <a:pt x="47903" y="11490"/>
                    <a:pt x="47865" y="11491"/>
                    <a:pt x="47828" y="11492"/>
                  </a:cubicBezTo>
                  <a:cubicBezTo>
                    <a:pt x="46459" y="11539"/>
                    <a:pt x="45292" y="12301"/>
                    <a:pt x="44661" y="13397"/>
                  </a:cubicBezTo>
                  <a:cubicBezTo>
                    <a:pt x="44327" y="14004"/>
                    <a:pt x="43673" y="14433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7"/>
                    <a:pt x="39511" y="14577"/>
                  </a:cubicBezTo>
                  <a:cubicBezTo>
                    <a:pt x="38397" y="14577"/>
                    <a:pt x="37480" y="13697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1"/>
                    <a:pt x="33544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7" name="Google Shape;367;p19">
              <a:extLst>
                <a:ext uri="{FF2B5EF4-FFF2-40B4-BE49-F238E27FC236}">
                  <a16:creationId xmlns:a16="http://schemas.microsoft.com/office/drawing/2014/main" id="{83656B75-FA65-EADB-2A16-79FDF08446F0}"/>
                </a:ext>
              </a:extLst>
            </p:cNvPr>
            <p:cNvSpPr/>
            <p:nvPr/>
          </p:nvSpPr>
          <p:spPr>
            <a:xfrm>
              <a:off x="933838" y="788897"/>
              <a:ext cx="177598" cy="256076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80"/>
                    <a:pt x="1" y="3001"/>
                  </a:cubicBezTo>
                  <a:cubicBezTo>
                    <a:pt x="1" y="4668"/>
                    <a:pt x="1346" y="6014"/>
                    <a:pt x="3001" y="6014"/>
                  </a:cubicBezTo>
                  <a:lnTo>
                    <a:pt x="4644" y="6014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8" name="Google Shape;368;p19">
              <a:extLst>
                <a:ext uri="{FF2B5EF4-FFF2-40B4-BE49-F238E27FC236}">
                  <a16:creationId xmlns:a16="http://schemas.microsoft.com/office/drawing/2014/main" id="{7E701376-48ED-70B6-D905-39B99D47F14E}"/>
                </a:ext>
              </a:extLst>
            </p:cNvPr>
            <p:cNvSpPr/>
            <p:nvPr/>
          </p:nvSpPr>
          <p:spPr>
            <a:xfrm>
              <a:off x="1071816" y="532900"/>
              <a:ext cx="1939277" cy="923862"/>
            </a:xfrm>
            <a:custGeom>
              <a:avLst/>
              <a:gdLst/>
              <a:ahLst/>
              <a:cxnLst/>
              <a:rect l="l" t="t" r="r" b="b"/>
              <a:pathLst>
                <a:path w="50710" h="24158" extrusionOk="0">
                  <a:moveTo>
                    <a:pt x="3549" y="0"/>
                  </a:moveTo>
                  <a:cubicBezTo>
                    <a:pt x="1584" y="0"/>
                    <a:pt x="1" y="1595"/>
                    <a:pt x="1" y="3560"/>
                  </a:cubicBezTo>
                  <a:lnTo>
                    <a:pt x="1" y="20610"/>
                  </a:lnTo>
                  <a:cubicBezTo>
                    <a:pt x="1" y="22562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2"/>
                    <a:pt x="36684" y="20610"/>
                  </a:cubicBezTo>
                  <a:lnTo>
                    <a:pt x="36684" y="18669"/>
                  </a:lnTo>
                  <a:cubicBezTo>
                    <a:pt x="36684" y="17550"/>
                    <a:pt x="37600" y="16633"/>
                    <a:pt x="38720" y="16633"/>
                  </a:cubicBezTo>
                  <a:lnTo>
                    <a:pt x="42030" y="16633"/>
                  </a:lnTo>
                  <a:cubicBezTo>
                    <a:pt x="42780" y="16633"/>
                    <a:pt x="43435" y="17038"/>
                    <a:pt x="43792" y="17633"/>
                  </a:cubicBezTo>
                  <a:cubicBezTo>
                    <a:pt x="44447" y="18705"/>
                    <a:pt x="45625" y="19431"/>
                    <a:pt x="46983" y="19431"/>
                  </a:cubicBezTo>
                  <a:cubicBezTo>
                    <a:pt x="49042" y="19431"/>
                    <a:pt x="50709" y="17752"/>
                    <a:pt x="50709" y="15692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2"/>
                    <a:pt x="43792" y="13764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28"/>
                  </a:cubicBezTo>
                  <a:lnTo>
                    <a:pt x="36684" y="3560"/>
                  </a:lnTo>
                  <a:cubicBezTo>
                    <a:pt x="36684" y="1595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9" name="Google Shape;369;p19">
              <a:extLst>
                <a:ext uri="{FF2B5EF4-FFF2-40B4-BE49-F238E27FC236}">
                  <a16:creationId xmlns:a16="http://schemas.microsoft.com/office/drawing/2014/main" id="{F478A4FC-C28A-AA2E-07A3-6DE1CFA16A04}"/>
                </a:ext>
              </a:extLst>
            </p:cNvPr>
            <p:cNvSpPr/>
            <p:nvPr/>
          </p:nvSpPr>
          <p:spPr>
            <a:xfrm>
              <a:off x="2752419" y="1016894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70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70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0" name="Google Shape;370;p19">
              <a:extLst>
                <a:ext uri="{FF2B5EF4-FFF2-40B4-BE49-F238E27FC236}">
                  <a16:creationId xmlns:a16="http://schemas.microsoft.com/office/drawing/2014/main" id="{D2CC46E4-0E18-C459-6731-7788D1035C52}"/>
                </a:ext>
              </a:extLst>
            </p:cNvPr>
            <p:cNvSpPr/>
            <p:nvPr/>
          </p:nvSpPr>
          <p:spPr>
            <a:xfrm>
              <a:off x="935214" y="562799"/>
              <a:ext cx="1606414" cy="369126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1"/>
                  </a:moveTo>
                  <a:cubicBezTo>
                    <a:pt x="2168" y="1"/>
                    <a:pt x="1417" y="346"/>
                    <a:pt x="882" y="882"/>
                  </a:cubicBezTo>
                  <a:cubicBezTo>
                    <a:pt x="334" y="1429"/>
                    <a:pt x="1" y="2180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1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6"/>
                  </a:cubicBezTo>
                  <a:cubicBezTo>
                    <a:pt x="41815" y="1168"/>
                    <a:pt x="40541" y="1"/>
                    <a:pt x="39006" y="1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1" name="Google Shape;371;p19">
              <a:extLst>
                <a:ext uri="{FF2B5EF4-FFF2-40B4-BE49-F238E27FC236}">
                  <a16:creationId xmlns:a16="http://schemas.microsoft.com/office/drawing/2014/main" id="{BC0ADE3B-6BCB-A7F7-4E00-3B2C828E5260}"/>
                </a:ext>
              </a:extLst>
            </p:cNvPr>
            <p:cNvSpPr/>
            <p:nvPr/>
          </p:nvSpPr>
          <p:spPr>
            <a:xfrm>
              <a:off x="935214" y="532909"/>
              <a:ext cx="1606414" cy="383816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0"/>
                  </a:moveTo>
                  <a:cubicBezTo>
                    <a:pt x="2168" y="0"/>
                    <a:pt x="1417" y="334"/>
                    <a:pt x="882" y="881"/>
                  </a:cubicBezTo>
                  <a:cubicBezTo>
                    <a:pt x="334" y="1417"/>
                    <a:pt x="1" y="2167"/>
                    <a:pt x="1" y="3001"/>
                  </a:cubicBezTo>
                  <a:lnTo>
                    <a:pt x="1" y="9013"/>
                  </a:lnTo>
                  <a:cubicBezTo>
                    <a:pt x="1" y="8192"/>
                    <a:pt x="334" y="7430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01"/>
                  </a:cubicBezTo>
                  <a:cubicBezTo>
                    <a:pt x="42006" y="1346"/>
                    <a:pt x="40660" y="0"/>
                    <a:pt x="39006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300"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2" name="Google Shape;372;p19">
              <a:extLst>
                <a:ext uri="{FF2B5EF4-FFF2-40B4-BE49-F238E27FC236}">
                  <a16:creationId xmlns:a16="http://schemas.microsoft.com/office/drawing/2014/main" id="{E28453F8-3EC6-DEDA-53C6-7ABEECD01F9A}"/>
                </a:ext>
              </a:extLst>
            </p:cNvPr>
            <p:cNvSpPr txBox="1"/>
            <p:nvPr/>
          </p:nvSpPr>
          <p:spPr>
            <a:xfrm>
              <a:off x="1081172" y="857225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5000 samples of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43" name="Google Shape;373;p19">
              <a:extLst>
                <a:ext uri="{FF2B5EF4-FFF2-40B4-BE49-F238E27FC236}">
                  <a16:creationId xmlns:a16="http://schemas.microsoft.com/office/drawing/2014/main" id="{33B1B2FE-6B07-658C-8002-785DCE648388}"/>
                </a:ext>
              </a:extLst>
            </p:cNvPr>
            <p:cNvSpPr txBox="1"/>
            <p:nvPr/>
          </p:nvSpPr>
          <p:spPr>
            <a:xfrm>
              <a:off x="1071825" y="532900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">
                  <a:solidFill>
                    <a:srgbClr val="FFFFFF"/>
                  </a:solidFill>
                  <a:sym typeface="Fira Sans Extra Condensed Medium"/>
                </a:rPr>
                <a:t>Obtain Data</a:t>
              </a:r>
              <a:endParaRPr lang="en-US"/>
            </a:p>
          </p:txBody>
        </p:sp>
      </p:grpSp>
      <p:grpSp>
        <p:nvGrpSpPr>
          <p:cNvPr id="44" name="Google Shape;374;p19">
            <a:extLst>
              <a:ext uri="{FF2B5EF4-FFF2-40B4-BE49-F238E27FC236}">
                <a16:creationId xmlns:a16="http://schemas.microsoft.com/office/drawing/2014/main" id="{870EE28C-0036-35F6-40D7-794CBF7727D0}"/>
              </a:ext>
            </a:extLst>
          </p:cNvPr>
          <p:cNvGrpSpPr/>
          <p:nvPr/>
        </p:nvGrpSpPr>
        <p:grpSpPr>
          <a:xfrm>
            <a:off x="4584563" y="1772840"/>
            <a:ext cx="2079971" cy="979076"/>
            <a:chOff x="933838" y="1769089"/>
            <a:chExt cx="2079971" cy="979076"/>
          </a:xfrm>
        </p:grpSpPr>
        <p:sp>
          <p:nvSpPr>
            <p:cNvPr id="45" name="Google Shape;375;p19">
              <a:extLst>
                <a:ext uri="{FF2B5EF4-FFF2-40B4-BE49-F238E27FC236}">
                  <a16:creationId xmlns:a16="http://schemas.microsoft.com/office/drawing/2014/main" id="{41B1EE30-89B3-AED7-3C71-D8B988EBC1D5}"/>
                </a:ext>
              </a:extLst>
            </p:cNvPr>
            <p:cNvSpPr/>
            <p:nvPr/>
          </p:nvSpPr>
          <p:spPr>
            <a:xfrm>
              <a:off x="1033115" y="1787667"/>
              <a:ext cx="1980694" cy="960499"/>
            </a:xfrm>
            <a:custGeom>
              <a:avLst/>
              <a:gdLst/>
              <a:ahLst/>
              <a:cxnLst/>
              <a:rect l="l" t="t" r="r" b="b"/>
              <a:pathLst>
                <a:path w="51793" h="25116" extrusionOk="0">
                  <a:moveTo>
                    <a:pt x="33566" y="0"/>
                  </a:moveTo>
                  <a:cubicBezTo>
                    <a:pt x="33522" y="0"/>
                    <a:pt x="33478" y="1"/>
                    <a:pt x="33433" y="3"/>
                  </a:cubicBezTo>
                  <a:lnTo>
                    <a:pt x="3537" y="979"/>
                  </a:lnTo>
                  <a:cubicBezTo>
                    <a:pt x="1548" y="1050"/>
                    <a:pt x="0" y="2693"/>
                    <a:pt x="60" y="4646"/>
                  </a:cubicBezTo>
                  <a:lnTo>
                    <a:pt x="620" y="21684"/>
                  </a:lnTo>
                  <a:cubicBezTo>
                    <a:pt x="689" y="23604"/>
                    <a:pt x="2273" y="25115"/>
                    <a:pt x="4190" y="25115"/>
                  </a:cubicBezTo>
                  <a:cubicBezTo>
                    <a:pt x="4234" y="25115"/>
                    <a:pt x="4278" y="25114"/>
                    <a:pt x="4322" y="25113"/>
                  </a:cubicBezTo>
                  <a:lnTo>
                    <a:pt x="34231" y="24136"/>
                  </a:lnTo>
                  <a:cubicBezTo>
                    <a:pt x="36207" y="24065"/>
                    <a:pt x="37767" y="22422"/>
                    <a:pt x="37696" y="20469"/>
                  </a:cubicBezTo>
                  <a:lnTo>
                    <a:pt x="37636" y="18541"/>
                  </a:lnTo>
                  <a:cubicBezTo>
                    <a:pt x="37600" y="17409"/>
                    <a:pt x="38493" y="16469"/>
                    <a:pt x="39636" y="16433"/>
                  </a:cubicBezTo>
                  <a:lnTo>
                    <a:pt x="42982" y="16314"/>
                  </a:lnTo>
                  <a:cubicBezTo>
                    <a:pt x="43004" y="16313"/>
                    <a:pt x="43026" y="16313"/>
                    <a:pt x="43048" y="16313"/>
                  </a:cubicBezTo>
                  <a:cubicBezTo>
                    <a:pt x="43772" y="16313"/>
                    <a:pt x="44422" y="16689"/>
                    <a:pt x="44792" y="17267"/>
                  </a:cubicBezTo>
                  <a:cubicBezTo>
                    <a:pt x="45460" y="18280"/>
                    <a:pt x="46628" y="18948"/>
                    <a:pt x="47943" y="18948"/>
                  </a:cubicBezTo>
                  <a:cubicBezTo>
                    <a:pt x="47988" y="18948"/>
                    <a:pt x="48033" y="18947"/>
                    <a:pt x="48078" y="18945"/>
                  </a:cubicBezTo>
                  <a:cubicBezTo>
                    <a:pt x="50162" y="18886"/>
                    <a:pt x="51793" y="17159"/>
                    <a:pt x="51721" y="15100"/>
                  </a:cubicBezTo>
                  <a:cubicBezTo>
                    <a:pt x="51663" y="13084"/>
                    <a:pt x="49985" y="11490"/>
                    <a:pt x="47961" y="11490"/>
                  </a:cubicBezTo>
                  <a:cubicBezTo>
                    <a:pt x="47916" y="11490"/>
                    <a:pt x="47872" y="11491"/>
                    <a:pt x="47828" y="11492"/>
                  </a:cubicBezTo>
                  <a:cubicBezTo>
                    <a:pt x="46459" y="11540"/>
                    <a:pt x="45292" y="12290"/>
                    <a:pt x="44661" y="13397"/>
                  </a:cubicBezTo>
                  <a:cubicBezTo>
                    <a:pt x="44327" y="14004"/>
                    <a:pt x="43673" y="14433"/>
                    <a:pt x="42911" y="14457"/>
                  </a:cubicBezTo>
                  <a:lnTo>
                    <a:pt x="39577" y="14564"/>
                  </a:lnTo>
                  <a:cubicBezTo>
                    <a:pt x="39554" y="14565"/>
                    <a:pt x="39532" y="14565"/>
                    <a:pt x="39510" y="14565"/>
                  </a:cubicBezTo>
                  <a:cubicBezTo>
                    <a:pt x="38397" y="14565"/>
                    <a:pt x="37480" y="13696"/>
                    <a:pt x="37434" y="12587"/>
                  </a:cubicBezTo>
                  <a:lnTo>
                    <a:pt x="37136" y="3432"/>
                  </a:lnTo>
                  <a:cubicBezTo>
                    <a:pt x="37078" y="1511"/>
                    <a:pt x="35484" y="0"/>
                    <a:pt x="3356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6" name="Google Shape;376;p19">
              <a:extLst>
                <a:ext uri="{FF2B5EF4-FFF2-40B4-BE49-F238E27FC236}">
                  <a16:creationId xmlns:a16="http://schemas.microsoft.com/office/drawing/2014/main" id="{67C489D2-02A3-1001-86AF-4CE4EC84E40D}"/>
                </a:ext>
              </a:extLst>
            </p:cNvPr>
            <p:cNvSpPr/>
            <p:nvPr/>
          </p:nvSpPr>
          <p:spPr>
            <a:xfrm>
              <a:off x="933838" y="2025120"/>
              <a:ext cx="177598" cy="256034"/>
            </a:xfrm>
            <a:custGeom>
              <a:avLst/>
              <a:gdLst/>
              <a:ahLst/>
              <a:cxnLst/>
              <a:rect l="l" t="t" r="r" b="b"/>
              <a:pathLst>
                <a:path w="4644" h="6013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7" name="Google Shape;377;p19">
              <a:extLst>
                <a:ext uri="{FF2B5EF4-FFF2-40B4-BE49-F238E27FC236}">
                  <a16:creationId xmlns:a16="http://schemas.microsoft.com/office/drawing/2014/main" id="{9D768FB2-F32D-6A09-EE2C-0C4F2743114B}"/>
                </a:ext>
              </a:extLst>
            </p:cNvPr>
            <p:cNvSpPr/>
            <p:nvPr/>
          </p:nvSpPr>
          <p:spPr>
            <a:xfrm>
              <a:off x="1071816" y="1769540"/>
              <a:ext cx="1939277" cy="923442"/>
            </a:xfrm>
            <a:custGeom>
              <a:avLst/>
              <a:gdLst/>
              <a:ahLst/>
              <a:cxnLst/>
              <a:rect l="l" t="t" r="r" b="b"/>
              <a:pathLst>
                <a:path w="50710" h="24147" extrusionOk="0">
                  <a:moveTo>
                    <a:pt x="3549" y="0"/>
                  </a:moveTo>
                  <a:cubicBezTo>
                    <a:pt x="1584" y="0"/>
                    <a:pt x="1" y="1596"/>
                    <a:pt x="1" y="3548"/>
                  </a:cubicBezTo>
                  <a:lnTo>
                    <a:pt x="1" y="20598"/>
                  </a:lnTo>
                  <a:cubicBezTo>
                    <a:pt x="1" y="22563"/>
                    <a:pt x="1584" y="24146"/>
                    <a:pt x="3549" y="24146"/>
                  </a:cubicBezTo>
                  <a:lnTo>
                    <a:pt x="33124" y="24146"/>
                  </a:lnTo>
                  <a:cubicBezTo>
                    <a:pt x="35088" y="24146"/>
                    <a:pt x="36684" y="22563"/>
                    <a:pt x="36684" y="20598"/>
                  </a:cubicBezTo>
                  <a:lnTo>
                    <a:pt x="36684" y="18669"/>
                  </a:lnTo>
                  <a:cubicBezTo>
                    <a:pt x="36684" y="17538"/>
                    <a:pt x="37600" y="16621"/>
                    <a:pt x="38720" y="16621"/>
                  </a:cubicBezTo>
                  <a:lnTo>
                    <a:pt x="42030" y="16621"/>
                  </a:lnTo>
                  <a:cubicBezTo>
                    <a:pt x="42780" y="16621"/>
                    <a:pt x="43435" y="17026"/>
                    <a:pt x="43792" y="17633"/>
                  </a:cubicBezTo>
                  <a:cubicBezTo>
                    <a:pt x="44447" y="18705"/>
                    <a:pt x="45625" y="19419"/>
                    <a:pt x="46983" y="19419"/>
                  </a:cubicBezTo>
                  <a:cubicBezTo>
                    <a:pt x="49042" y="19419"/>
                    <a:pt x="50709" y="17753"/>
                    <a:pt x="50709" y="15693"/>
                  </a:cubicBezTo>
                  <a:cubicBezTo>
                    <a:pt x="50709" y="13633"/>
                    <a:pt x="49042" y="11954"/>
                    <a:pt x="46983" y="11954"/>
                  </a:cubicBezTo>
                  <a:cubicBezTo>
                    <a:pt x="45625" y="11954"/>
                    <a:pt x="44447" y="12680"/>
                    <a:pt x="43792" y="13752"/>
                  </a:cubicBezTo>
                  <a:cubicBezTo>
                    <a:pt x="43435" y="14359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7"/>
                    <a:pt x="36684" y="12716"/>
                  </a:cubicBezTo>
                  <a:lnTo>
                    <a:pt x="36684" y="3548"/>
                  </a:lnTo>
                  <a:cubicBezTo>
                    <a:pt x="36684" y="1596"/>
                    <a:pt x="35088" y="0"/>
                    <a:pt x="33124" y="0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8" name="Google Shape;378;p19">
              <a:extLst>
                <a:ext uri="{FF2B5EF4-FFF2-40B4-BE49-F238E27FC236}">
                  <a16:creationId xmlns:a16="http://schemas.microsoft.com/office/drawing/2014/main" id="{CBF8A3D4-60B0-2762-7FC9-96766F06CE8B}"/>
                </a:ext>
              </a:extLst>
            </p:cNvPr>
            <p:cNvSpPr/>
            <p:nvPr/>
          </p:nvSpPr>
          <p:spPr>
            <a:xfrm>
              <a:off x="2752419" y="2253534"/>
              <a:ext cx="232247" cy="232247"/>
            </a:xfrm>
            <a:custGeom>
              <a:avLst/>
              <a:gdLst/>
              <a:ahLst/>
              <a:cxnLst/>
              <a:rect l="l" t="t" r="r" b="b"/>
              <a:pathLst>
                <a:path w="6073" h="6073" extrusionOk="0">
                  <a:moveTo>
                    <a:pt x="3037" y="1"/>
                  </a:moveTo>
                  <a:cubicBezTo>
                    <a:pt x="1358" y="1"/>
                    <a:pt x="0" y="1358"/>
                    <a:pt x="0" y="3037"/>
                  </a:cubicBezTo>
                  <a:cubicBezTo>
                    <a:pt x="0" y="4716"/>
                    <a:pt x="1358" y="6073"/>
                    <a:pt x="3037" y="6073"/>
                  </a:cubicBezTo>
                  <a:cubicBezTo>
                    <a:pt x="4715" y="6073"/>
                    <a:pt x="6073" y="4716"/>
                    <a:pt x="6073" y="3037"/>
                  </a:cubicBezTo>
                  <a:cubicBezTo>
                    <a:pt x="6073" y="1358"/>
                    <a:pt x="4715" y="1"/>
                    <a:pt x="3037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49" name="Google Shape;379;p19">
              <a:extLst>
                <a:ext uri="{FF2B5EF4-FFF2-40B4-BE49-F238E27FC236}">
                  <a16:creationId xmlns:a16="http://schemas.microsoft.com/office/drawing/2014/main" id="{ED3832C1-FF82-B007-DD8B-BCB301E2D728}"/>
                </a:ext>
              </a:extLst>
            </p:cNvPr>
            <p:cNvSpPr/>
            <p:nvPr/>
          </p:nvSpPr>
          <p:spPr>
            <a:xfrm>
              <a:off x="935214" y="1799534"/>
              <a:ext cx="1606414" cy="368572"/>
            </a:xfrm>
            <a:custGeom>
              <a:avLst/>
              <a:gdLst/>
              <a:ahLst/>
              <a:cxnLst/>
              <a:rect l="l" t="t" r="r" b="b"/>
              <a:pathLst>
                <a:path w="42006" h="8656" extrusionOk="0">
                  <a:moveTo>
                    <a:pt x="3001" y="0"/>
                  </a:moveTo>
                  <a:cubicBezTo>
                    <a:pt x="2168" y="0"/>
                    <a:pt x="1417" y="333"/>
                    <a:pt x="882" y="881"/>
                  </a:cubicBezTo>
                  <a:cubicBezTo>
                    <a:pt x="334" y="1429"/>
                    <a:pt x="1" y="2179"/>
                    <a:pt x="1" y="3012"/>
                  </a:cubicBezTo>
                  <a:lnTo>
                    <a:pt x="1" y="8311"/>
                  </a:lnTo>
                  <a:lnTo>
                    <a:pt x="24" y="8656"/>
                  </a:lnTo>
                  <a:cubicBezTo>
                    <a:pt x="108" y="7977"/>
                    <a:pt x="417" y="7358"/>
                    <a:pt x="882" y="6894"/>
                  </a:cubicBezTo>
                  <a:cubicBezTo>
                    <a:pt x="1417" y="6346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7"/>
                    <a:pt x="42006" y="3012"/>
                  </a:cubicBezTo>
                  <a:cubicBezTo>
                    <a:pt x="42006" y="2881"/>
                    <a:pt x="42006" y="2774"/>
                    <a:pt x="41982" y="2655"/>
                  </a:cubicBezTo>
                  <a:cubicBezTo>
                    <a:pt x="41815" y="1155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380;p19">
              <a:extLst>
                <a:ext uri="{FF2B5EF4-FFF2-40B4-BE49-F238E27FC236}">
                  <a16:creationId xmlns:a16="http://schemas.microsoft.com/office/drawing/2014/main" id="{ACAF32B3-5C8F-5A7C-0583-16353C7BA9A8}"/>
                </a:ext>
              </a:extLst>
            </p:cNvPr>
            <p:cNvSpPr/>
            <p:nvPr/>
          </p:nvSpPr>
          <p:spPr>
            <a:xfrm>
              <a:off x="935214" y="1769089"/>
              <a:ext cx="1606414" cy="384327"/>
            </a:xfrm>
            <a:custGeom>
              <a:avLst/>
              <a:gdLst/>
              <a:ahLst/>
              <a:cxnLst/>
              <a:rect l="l" t="t" r="r" b="b"/>
              <a:pathLst>
                <a:path w="42006" h="9026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9026"/>
                  </a:lnTo>
                  <a:cubicBezTo>
                    <a:pt x="1" y="8192"/>
                    <a:pt x="334" y="7442"/>
                    <a:pt x="882" y="6894"/>
                  </a:cubicBezTo>
                  <a:cubicBezTo>
                    <a:pt x="1417" y="6359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381;p19">
              <a:extLst>
                <a:ext uri="{FF2B5EF4-FFF2-40B4-BE49-F238E27FC236}">
                  <a16:creationId xmlns:a16="http://schemas.microsoft.com/office/drawing/2014/main" id="{1318E4BE-E0B9-33EC-934A-18639A1F15E9}"/>
                </a:ext>
              </a:extLst>
            </p:cNvPr>
            <p:cNvSpPr txBox="1"/>
            <p:nvPr/>
          </p:nvSpPr>
          <p:spPr>
            <a:xfrm>
              <a:off x="1081172" y="209766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Encode strings and batch them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52" name="Google Shape;382;p19">
              <a:extLst>
                <a:ext uri="{FF2B5EF4-FFF2-40B4-BE49-F238E27FC236}">
                  <a16:creationId xmlns:a16="http://schemas.microsoft.com/office/drawing/2014/main" id="{66A8AB38-C7E4-96B6-0049-864E509A39E8}"/>
                </a:ext>
              </a:extLst>
            </p:cNvPr>
            <p:cNvSpPr txBox="1"/>
            <p:nvPr/>
          </p:nvSpPr>
          <p:spPr>
            <a:xfrm>
              <a:off x="1071825" y="1769313"/>
              <a:ext cx="1469700" cy="25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>
                  <a:solidFill>
                    <a:srgbClr val="FFFFFF"/>
                  </a:solidFill>
                  <a:ea typeface="Fira Sans Extra Condensed Medium"/>
                  <a:sym typeface="Fira Sans Extra Condensed Medium"/>
                </a:rPr>
                <a:t>Encode + Batch</a:t>
              </a:r>
              <a:endParaRPr>
                <a:solidFill>
                  <a:srgbClr val="FFFFFF"/>
                </a:solidFill>
                <a:latin typeface="Arial" panose="020B0604020202020204" pitchFamily="34" charset="0"/>
                <a:ea typeface="Fira Sans Extra Condensed Medium"/>
                <a:cs typeface="Arial" panose="020B0604020202020204" pitchFamily="34" charset="0"/>
                <a:sym typeface="Fira Sans Extra Condensed Medium"/>
              </a:endParaRPr>
            </a:p>
          </p:txBody>
        </p:sp>
      </p:grpSp>
      <p:grpSp>
        <p:nvGrpSpPr>
          <p:cNvPr id="53" name="Google Shape;383;p19">
            <a:extLst>
              <a:ext uri="{FF2B5EF4-FFF2-40B4-BE49-F238E27FC236}">
                <a16:creationId xmlns:a16="http://schemas.microsoft.com/office/drawing/2014/main" id="{084199AD-7317-DD9D-F00C-7BE4CF52FE40}"/>
              </a:ext>
            </a:extLst>
          </p:cNvPr>
          <p:cNvGrpSpPr/>
          <p:nvPr/>
        </p:nvGrpSpPr>
        <p:grpSpPr>
          <a:xfrm>
            <a:off x="4584563" y="3009472"/>
            <a:ext cx="2079971" cy="979046"/>
            <a:chOff x="933838" y="3005721"/>
            <a:chExt cx="2079971" cy="979046"/>
          </a:xfrm>
        </p:grpSpPr>
        <p:sp>
          <p:nvSpPr>
            <p:cNvPr id="54" name="Google Shape;384;p19">
              <a:extLst>
                <a:ext uri="{FF2B5EF4-FFF2-40B4-BE49-F238E27FC236}">
                  <a16:creationId xmlns:a16="http://schemas.microsoft.com/office/drawing/2014/main" id="{16DBC7E0-A3F4-DA44-3C59-2E2EA36E3AFB}"/>
                </a:ext>
              </a:extLst>
            </p:cNvPr>
            <p:cNvSpPr/>
            <p:nvPr/>
          </p:nvSpPr>
          <p:spPr>
            <a:xfrm>
              <a:off x="1033115" y="3023886"/>
              <a:ext cx="1980694" cy="960881"/>
            </a:xfrm>
            <a:custGeom>
              <a:avLst/>
              <a:gdLst/>
              <a:ahLst/>
              <a:cxnLst/>
              <a:rect l="l" t="t" r="r" b="b"/>
              <a:pathLst>
                <a:path w="51793" h="25126" extrusionOk="0">
                  <a:moveTo>
                    <a:pt x="33544" y="0"/>
                  </a:moveTo>
                  <a:cubicBezTo>
                    <a:pt x="33507" y="0"/>
                    <a:pt x="33470" y="1"/>
                    <a:pt x="33433" y="2"/>
                  </a:cubicBezTo>
                  <a:lnTo>
                    <a:pt x="3537" y="990"/>
                  </a:lnTo>
                  <a:cubicBezTo>
                    <a:pt x="1548" y="1050"/>
                    <a:pt x="0" y="2693"/>
                    <a:pt x="60" y="4657"/>
                  </a:cubicBezTo>
                  <a:lnTo>
                    <a:pt x="620" y="21695"/>
                  </a:lnTo>
                  <a:cubicBezTo>
                    <a:pt x="690" y="23611"/>
                    <a:pt x="2284" y="25126"/>
                    <a:pt x="4211" y="25126"/>
                  </a:cubicBezTo>
                  <a:cubicBezTo>
                    <a:pt x="4248" y="25126"/>
                    <a:pt x="4285" y="25125"/>
                    <a:pt x="4322" y="25124"/>
                  </a:cubicBezTo>
                  <a:lnTo>
                    <a:pt x="34231" y="24136"/>
                  </a:lnTo>
                  <a:cubicBezTo>
                    <a:pt x="36207" y="24076"/>
                    <a:pt x="37767" y="22433"/>
                    <a:pt x="37696" y="20469"/>
                  </a:cubicBezTo>
                  <a:lnTo>
                    <a:pt x="37636" y="18540"/>
                  </a:lnTo>
                  <a:cubicBezTo>
                    <a:pt x="37600" y="17409"/>
                    <a:pt x="38493" y="16468"/>
                    <a:pt x="39636" y="16433"/>
                  </a:cubicBezTo>
                  <a:lnTo>
                    <a:pt x="42982" y="16325"/>
                  </a:lnTo>
                  <a:cubicBezTo>
                    <a:pt x="43004" y="16325"/>
                    <a:pt x="43026" y="16324"/>
                    <a:pt x="43049" y="16324"/>
                  </a:cubicBezTo>
                  <a:cubicBezTo>
                    <a:pt x="43772" y="16324"/>
                    <a:pt x="44422" y="16700"/>
                    <a:pt x="44792" y="17266"/>
                  </a:cubicBezTo>
                  <a:cubicBezTo>
                    <a:pt x="45460" y="18291"/>
                    <a:pt x="46628" y="18959"/>
                    <a:pt x="47943" y="18959"/>
                  </a:cubicBezTo>
                  <a:cubicBezTo>
                    <a:pt x="47988" y="18959"/>
                    <a:pt x="48033" y="18958"/>
                    <a:pt x="48078" y="18957"/>
                  </a:cubicBezTo>
                  <a:cubicBezTo>
                    <a:pt x="50162" y="18885"/>
                    <a:pt x="51793" y="17159"/>
                    <a:pt x="51721" y="15099"/>
                  </a:cubicBezTo>
                  <a:cubicBezTo>
                    <a:pt x="51663" y="13076"/>
                    <a:pt x="49974" y="11490"/>
                    <a:pt x="47940" y="11490"/>
                  </a:cubicBezTo>
                  <a:cubicBezTo>
                    <a:pt x="47903" y="11490"/>
                    <a:pt x="47865" y="11490"/>
                    <a:pt x="47828" y="11491"/>
                  </a:cubicBezTo>
                  <a:cubicBezTo>
                    <a:pt x="46459" y="11539"/>
                    <a:pt x="45292" y="12301"/>
                    <a:pt x="44661" y="13396"/>
                  </a:cubicBezTo>
                  <a:cubicBezTo>
                    <a:pt x="44327" y="14004"/>
                    <a:pt x="43673" y="14432"/>
                    <a:pt x="42911" y="14456"/>
                  </a:cubicBezTo>
                  <a:lnTo>
                    <a:pt x="39577" y="14575"/>
                  </a:lnTo>
                  <a:cubicBezTo>
                    <a:pt x="39555" y="14576"/>
                    <a:pt x="39533" y="14576"/>
                    <a:pt x="39511" y="14576"/>
                  </a:cubicBezTo>
                  <a:cubicBezTo>
                    <a:pt x="38397" y="14576"/>
                    <a:pt x="37480" y="13696"/>
                    <a:pt x="37434" y="12599"/>
                  </a:cubicBezTo>
                  <a:lnTo>
                    <a:pt x="37136" y="3431"/>
                  </a:lnTo>
                  <a:cubicBezTo>
                    <a:pt x="37078" y="1515"/>
                    <a:pt x="35472" y="0"/>
                    <a:pt x="33544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5" name="Google Shape;385;p19">
              <a:extLst>
                <a:ext uri="{FF2B5EF4-FFF2-40B4-BE49-F238E27FC236}">
                  <a16:creationId xmlns:a16="http://schemas.microsoft.com/office/drawing/2014/main" id="{7239C8BB-1E2E-F5DD-E42A-A3C2B808DB81}"/>
                </a:ext>
              </a:extLst>
            </p:cNvPr>
            <p:cNvSpPr/>
            <p:nvPr/>
          </p:nvSpPr>
          <p:spPr>
            <a:xfrm>
              <a:off x="933838" y="3261739"/>
              <a:ext cx="177598" cy="256061"/>
            </a:xfrm>
            <a:custGeom>
              <a:avLst/>
              <a:gdLst/>
              <a:ahLst/>
              <a:cxnLst/>
              <a:rect l="l" t="t" r="r" b="b"/>
              <a:pathLst>
                <a:path w="4644" h="6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7"/>
                    <a:pt x="1" y="2179"/>
                    <a:pt x="1" y="3001"/>
                  </a:cubicBezTo>
                  <a:cubicBezTo>
                    <a:pt x="1" y="4668"/>
                    <a:pt x="1346" y="6013"/>
                    <a:pt x="3001" y="6013"/>
                  </a:cubicBezTo>
                  <a:lnTo>
                    <a:pt x="4644" y="6013"/>
                  </a:lnTo>
                  <a:lnTo>
                    <a:pt x="4644" y="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6" name="Google Shape;386;p19">
              <a:extLst>
                <a:ext uri="{FF2B5EF4-FFF2-40B4-BE49-F238E27FC236}">
                  <a16:creationId xmlns:a16="http://schemas.microsoft.com/office/drawing/2014/main" id="{A0DB2FD9-4771-C3C3-C7CE-8291A2AA7B56}"/>
                </a:ext>
              </a:extLst>
            </p:cNvPr>
            <p:cNvSpPr/>
            <p:nvPr/>
          </p:nvSpPr>
          <p:spPr>
            <a:xfrm>
              <a:off x="1071816" y="3005721"/>
              <a:ext cx="1939277" cy="923901"/>
            </a:xfrm>
            <a:custGeom>
              <a:avLst/>
              <a:gdLst/>
              <a:ahLst/>
              <a:cxnLst/>
              <a:rect l="l" t="t" r="r" b="b"/>
              <a:pathLst>
                <a:path w="50710" h="24159" extrusionOk="0">
                  <a:moveTo>
                    <a:pt x="3549" y="1"/>
                  </a:moveTo>
                  <a:cubicBezTo>
                    <a:pt x="1584" y="1"/>
                    <a:pt x="1" y="1596"/>
                    <a:pt x="1" y="3561"/>
                  </a:cubicBezTo>
                  <a:lnTo>
                    <a:pt x="1" y="20610"/>
                  </a:lnTo>
                  <a:cubicBezTo>
                    <a:pt x="1" y="22563"/>
                    <a:pt x="1584" y="24158"/>
                    <a:pt x="3549" y="24158"/>
                  </a:cubicBezTo>
                  <a:lnTo>
                    <a:pt x="33124" y="24158"/>
                  </a:lnTo>
                  <a:cubicBezTo>
                    <a:pt x="35088" y="24158"/>
                    <a:pt x="36684" y="22563"/>
                    <a:pt x="36684" y="20610"/>
                  </a:cubicBezTo>
                  <a:lnTo>
                    <a:pt x="36684" y="18670"/>
                  </a:lnTo>
                  <a:cubicBezTo>
                    <a:pt x="36684" y="17550"/>
                    <a:pt x="37600" y="16634"/>
                    <a:pt x="38720" y="16634"/>
                  </a:cubicBezTo>
                  <a:lnTo>
                    <a:pt x="42030" y="16634"/>
                  </a:lnTo>
                  <a:cubicBezTo>
                    <a:pt x="42780" y="16634"/>
                    <a:pt x="43435" y="17039"/>
                    <a:pt x="43792" y="17634"/>
                  </a:cubicBezTo>
                  <a:cubicBezTo>
                    <a:pt x="44447" y="18705"/>
                    <a:pt x="45625" y="19432"/>
                    <a:pt x="46983" y="19432"/>
                  </a:cubicBezTo>
                  <a:cubicBezTo>
                    <a:pt x="49042" y="19432"/>
                    <a:pt x="50709" y="17765"/>
                    <a:pt x="50709" y="15693"/>
                  </a:cubicBezTo>
                  <a:cubicBezTo>
                    <a:pt x="50709" y="13633"/>
                    <a:pt x="49042" y="11966"/>
                    <a:pt x="46983" y="11966"/>
                  </a:cubicBezTo>
                  <a:cubicBezTo>
                    <a:pt x="45625" y="11966"/>
                    <a:pt x="44447" y="12693"/>
                    <a:pt x="43792" y="13764"/>
                  </a:cubicBezTo>
                  <a:cubicBezTo>
                    <a:pt x="43435" y="14360"/>
                    <a:pt x="42780" y="14764"/>
                    <a:pt x="42030" y="14764"/>
                  </a:cubicBezTo>
                  <a:lnTo>
                    <a:pt x="38720" y="14764"/>
                  </a:lnTo>
                  <a:cubicBezTo>
                    <a:pt x="37600" y="14764"/>
                    <a:pt x="36684" y="13848"/>
                    <a:pt x="36684" y="12728"/>
                  </a:cubicBezTo>
                  <a:lnTo>
                    <a:pt x="36684" y="3561"/>
                  </a:lnTo>
                  <a:cubicBezTo>
                    <a:pt x="36684" y="1596"/>
                    <a:pt x="35088" y="1"/>
                    <a:pt x="33124" y="1"/>
                  </a:cubicBezTo>
                  <a:close/>
                </a:path>
              </a:pathLst>
            </a:custGeom>
            <a:solidFill>
              <a:srgbClr val="FDF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387;p19">
              <a:extLst>
                <a:ext uri="{FF2B5EF4-FFF2-40B4-BE49-F238E27FC236}">
                  <a16:creationId xmlns:a16="http://schemas.microsoft.com/office/drawing/2014/main" id="{A9D8ABE3-F548-E553-F7B2-E70F082E0E49}"/>
                </a:ext>
              </a:extLst>
            </p:cNvPr>
            <p:cNvSpPr/>
            <p:nvPr/>
          </p:nvSpPr>
          <p:spPr>
            <a:xfrm>
              <a:off x="2752419" y="3489753"/>
              <a:ext cx="232247" cy="232706"/>
            </a:xfrm>
            <a:custGeom>
              <a:avLst/>
              <a:gdLst/>
              <a:ahLst/>
              <a:cxnLst/>
              <a:rect l="l" t="t" r="r" b="b"/>
              <a:pathLst>
                <a:path w="6073" h="6085" extrusionOk="0">
                  <a:moveTo>
                    <a:pt x="3037" y="0"/>
                  </a:moveTo>
                  <a:cubicBezTo>
                    <a:pt x="1358" y="0"/>
                    <a:pt x="0" y="1369"/>
                    <a:pt x="0" y="3036"/>
                  </a:cubicBezTo>
                  <a:cubicBezTo>
                    <a:pt x="0" y="4715"/>
                    <a:pt x="1358" y="6084"/>
                    <a:pt x="3037" y="6084"/>
                  </a:cubicBezTo>
                  <a:cubicBezTo>
                    <a:pt x="4715" y="6084"/>
                    <a:pt x="6073" y="4715"/>
                    <a:pt x="6073" y="3036"/>
                  </a:cubicBezTo>
                  <a:cubicBezTo>
                    <a:pt x="6073" y="1369"/>
                    <a:pt x="4715" y="0"/>
                    <a:pt x="3037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8" name="Google Shape;388;p19">
              <a:extLst>
                <a:ext uri="{FF2B5EF4-FFF2-40B4-BE49-F238E27FC236}">
                  <a16:creationId xmlns:a16="http://schemas.microsoft.com/office/drawing/2014/main" id="{B705722C-D58B-8B4C-A239-94A6CA47A99A}"/>
                </a:ext>
              </a:extLst>
            </p:cNvPr>
            <p:cNvSpPr/>
            <p:nvPr/>
          </p:nvSpPr>
          <p:spPr>
            <a:xfrm>
              <a:off x="935214" y="3035660"/>
              <a:ext cx="1606414" cy="369104"/>
            </a:xfrm>
            <a:custGeom>
              <a:avLst/>
              <a:gdLst/>
              <a:ahLst/>
              <a:cxnLst/>
              <a:rect l="l" t="t" r="r" b="b"/>
              <a:pathLst>
                <a:path w="42006" h="8669" extrusionOk="0">
                  <a:moveTo>
                    <a:pt x="3001" y="0"/>
                  </a:moveTo>
                  <a:cubicBezTo>
                    <a:pt x="2168" y="0"/>
                    <a:pt x="1417" y="346"/>
                    <a:pt x="882" y="881"/>
                  </a:cubicBezTo>
                  <a:cubicBezTo>
                    <a:pt x="334" y="1429"/>
                    <a:pt x="1" y="2179"/>
                    <a:pt x="1" y="3013"/>
                  </a:cubicBezTo>
                  <a:lnTo>
                    <a:pt x="1" y="8311"/>
                  </a:lnTo>
                  <a:lnTo>
                    <a:pt x="24" y="8668"/>
                  </a:lnTo>
                  <a:cubicBezTo>
                    <a:pt x="108" y="7978"/>
                    <a:pt x="417" y="7370"/>
                    <a:pt x="882" y="6894"/>
                  </a:cubicBezTo>
                  <a:cubicBezTo>
                    <a:pt x="1417" y="6358"/>
                    <a:pt x="2168" y="6013"/>
                    <a:pt x="3001" y="6013"/>
                  </a:cubicBezTo>
                  <a:lnTo>
                    <a:pt x="39006" y="6013"/>
                  </a:lnTo>
                  <a:cubicBezTo>
                    <a:pt x="40660" y="6013"/>
                    <a:pt x="42006" y="4668"/>
                    <a:pt x="42006" y="3013"/>
                  </a:cubicBezTo>
                  <a:cubicBezTo>
                    <a:pt x="42006" y="2894"/>
                    <a:pt x="42006" y="2775"/>
                    <a:pt x="41982" y="2655"/>
                  </a:cubicBezTo>
                  <a:cubicBezTo>
                    <a:pt x="41815" y="1167"/>
                    <a:pt x="40541" y="0"/>
                    <a:pt x="39006" y="0"/>
                  </a:cubicBezTo>
                  <a:close/>
                </a:path>
              </a:pathLst>
            </a:custGeom>
            <a:solidFill>
              <a:srgbClr val="B7B7B7">
                <a:alpha val="553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9" name="Google Shape;389;p19">
              <a:extLst>
                <a:ext uri="{FF2B5EF4-FFF2-40B4-BE49-F238E27FC236}">
                  <a16:creationId xmlns:a16="http://schemas.microsoft.com/office/drawing/2014/main" id="{C03FCBF4-C92F-D037-140C-8C80B44B94E9}"/>
                </a:ext>
              </a:extLst>
            </p:cNvPr>
            <p:cNvSpPr/>
            <p:nvPr/>
          </p:nvSpPr>
          <p:spPr>
            <a:xfrm>
              <a:off x="935214" y="3005729"/>
              <a:ext cx="1606414" cy="383794"/>
            </a:xfrm>
            <a:custGeom>
              <a:avLst/>
              <a:gdLst/>
              <a:ahLst/>
              <a:cxnLst/>
              <a:rect l="l" t="t" r="r" b="b"/>
              <a:pathLst>
                <a:path w="42006" h="9014" extrusionOk="0">
                  <a:moveTo>
                    <a:pt x="3001" y="1"/>
                  </a:moveTo>
                  <a:cubicBezTo>
                    <a:pt x="2168" y="1"/>
                    <a:pt x="1417" y="334"/>
                    <a:pt x="882" y="882"/>
                  </a:cubicBezTo>
                  <a:cubicBezTo>
                    <a:pt x="334" y="1418"/>
                    <a:pt x="1" y="2168"/>
                    <a:pt x="1" y="3001"/>
                  </a:cubicBezTo>
                  <a:lnTo>
                    <a:pt x="1" y="9014"/>
                  </a:lnTo>
                  <a:cubicBezTo>
                    <a:pt x="1" y="8192"/>
                    <a:pt x="334" y="7430"/>
                    <a:pt x="882" y="6895"/>
                  </a:cubicBezTo>
                  <a:cubicBezTo>
                    <a:pt x="1417" y="6347"/>
                    <a:pt x="2168" y="6014"/>
                    <a:pt x="3001" y="6014"/>
                  </a:cubicBezTo>
                  <a:lnTo>
                    <a:pt x="39006" y="6014"/>
                  </a:lnTo>
                  <a:cubicBezTo>
                    <a:pt x="40660" y="6014"/>
                    <a:pt x="42006" y="4668"/>
                    <a:pt x="42006" y="3001"/>
                  </a:cubicBezTo>
                  <a:cubicBezTo>
                    <a:pt x="42006" y="1346"/>
                    <a:pt x="40660" y="1"/>
                    <a:pt x="39006" y="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60" name="Google Shape;390;p19">
              <a:extLst>
                <a:ext uri="{FF2B5EF4-FFF2-40B4-BE49-F238E27FC236}">
                  <a16:creationId xmlns:a16="http://schemas.microsoft.com/office/drawing/2014/main" id="{EC0BD778-21B1-0382-06E7-2622FA4F4F7D}"/>
                </a:ext>
              </a:extLst>
            </p:cNvPr>
            <p:cNvSpPr txBox="1"/>
            <p:nvPr/>
          </p:nvSpPr>
          <p:spPr>
            <a:xfrm>
              <a:off x="1081172" y="3338113"/>
              <a:ext cx="1390200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200">
                  <a:solidFill>
                    <a:srgbClr val="434343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rPr>
                <a:t>Generate output and decode it python text</a:t>
              </a:r>
              <a:endParaRPr sz="1200">
                <a:solidFill>
                  <a:srgbClr val="434343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</p:grpSp>
      <p:pic>
        <p:nvPicPr>
          <p:cNvPr id="64" name="Graphic 63" descr="Checkmark">
            <a:extLst>
              <a:ext uri="{FF2B5EF4-FFF2-40B4-BE49-F238E27FC236}">
                <a16:creationId xmlns:a16="http://schemas.microsoft.com/office/drawing/2014/main" id="{848D5A6A-778F-8E6F-B675-5E5B9D32E4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6748" y="2277735"/>
            <a:ext cx="213785" cy="213785"/>
          </a:xfrm>
          <a:prstGeom prst="rect">
            <a:avLst/>
          </a:prstGeom>
        </p:spPr>
      </p:pic>
      <p:pic>
        <p:nvPicPr>
          <p:cNvPr id="7" name="Graphic 6" descr="Warning">
            <a:extLst>
              <a:ext uri="{FF2B5EF4-FFF2-40B4-BE49-F238E27FC236}">
                <a16:creationId xmlns:a16="http://schemas.microsoft.com/office/drawing/2014/main" id="{42108E13-3625-0530-4E96-87415FE362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15947" y="2875886"/>
            <a:ext cx="205693" cy="205693"/>
          </a:xfrm>
          <a:prstGeom prst="rect">
            <a:avLst/>
          </a:prstGeom>
        </p:spPr>
      </p:pic>
      <p:pic>
        <p:nvPicPr>
          <p:cNvPr id="67" name="Graphic 66" descr="Checkmark">
            <a:extLst>
              <a:ext uri="{FF2B5EF4-FFF2-40B4-BE49-F238E27FC236}">
                <a16:creationId xmlns:a16="http://schemas.microsoft.com/office/drawing/2014/main" id="{CFCB958C-F88D-0CE1-A124-304641D925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7303" y="1653160"/>
            <a:ext cx="213785" cy="213785"/>
          </a:xfrm>
          <a:prstGeom prst="rect">
            <a:avLst/>
          </a:prstGeom>
        </p:spPr>
      </p:pic>
      <p:pic>
        <p:nvPicPr>
          <p:cNvPr id="68" name="Graphic 67" descr="Checkmark">
            <a:extLst>
              <a:ext uri="{FF2B5EF4-FFF2-40B4-BE49-F238E27FC236}">
                <a16:creationId xmlns:a16="http://schemas.microsoft.com/office/drawing/2014/main" id="{F6DAA5C9-9661-3043-1B77-339AA2C084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5534" y="1040560"/>
            <a:ext cx="213785" cy="213785"/>
          </a:xfrm>
          <a:prstGeom prst="rect">
            <a:avLst/>
          </a:prstGeom>
        </p:spPr>
      </p:pic>
      <p:pic>
        <p:nvPicPr>
          <p:cNvPr id="4" name="Graphic 3" descr="Checkmark">
            <a:extLst>
              <a:ext uri="{FF2B5EF4-FFF2-40B4-BE49-F238E27FC236}">
                <a16:creationId xmlns:a16="http://schemas.microsoft.com/office/drawing/2014/main" id="{A34E72B0-BADF-5994-01FA-F39DF087A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07303" y="3517215"/>
            <a:ext cx="213785" cy="213785"/>
          </a:xfrm>
          <a:prstGeom prst="rect">
            <a:avLst/>
          </a:prstGeom>
        </p:spPr>
      </p:pic>
      <p:sp>
        <p:nvSpPr>
          <p:cNvPr id="63" name="Google Shape;364;p19">
            <a:extLst>
              <a:ext uri="{FF2B5EF4-FFF2-40B4-BE49-F238E27FC236}">
                <a16:creationId xmlns:a16="http://schemas.microsoft.com/office/drawing/2014/main" id="{44E5CCFE-D1CF-F78F-03E9-160FB5AE3AC6}"/>
              </a:ext>
            </a:extLst>
          </p:cNvPr>
          <p:cNvSpPr txBox="1"/>
          <p:nvPr/>
        </p:nvSpPr>
        <p:spPr>
          <a:xfrm>
            <a:off x="6846175" y="1144475"/>
            <a:ext cx="157998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Preprocess Data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sp>
        <p:nvSpPr>
          <p:cNvPr id="66" name="Google Shape;391;p19">
            <a:extLst>
              <a:ext uri="{FF2B5EF4-FFF2-40B4-BE49-F238E27FC236}">
                <a16:creationId xmlns:a16="http://schemas.microsoft.com/office/drawing/2014/main" id="{CBDD5500-439C-58DB-91F0-EA3DC918C5B8}"/>
              </a:ext>
            </a:extLst>
          </p:cNvPr>
          <p:cNvSpPr txBox="1"/>
          <p:nvPr/>
        </p:nvSpPr>
        <p:spPr>
          <a:xfrm>
            <a:off x="4520839" y="3012821"/>
            <a:ext cx="1747259" cy="265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FFFFFF"/>
                </a:solidFill>
                <a:ea typeface="Fira Sans Extra Condensed Medium"/>
                <a:sym typeface="Fira Sans Extra Condensed Medium"/>
              </a:rPr>
              <a:t>Generate + Decode</a:t>
            </a:r>
            <a:endParaRPr>
              <a:solidFill>
                <a:srgbClr val="FFFFFF"/>
              </a:solidFill>
              <a:latin typeface="Arial" panose="020B0604020202020204" pitchFamily="34" charset="0"/>
              <a:ea typeface="Fira Sans Extra Condensed Medium"/>
              <a:cs typeface="Arial" panose="020B0604020202020204" pitchFamily="34" charset="0"/>
              <a:sym typeface="Fira Sans Extra Condensed Medium"/>
            </a:endParaRPr>
          </a:p>
        </p:txBody>
      </p:sp>
      <p:sp>
        <p:nvSpPr>
          <p:cNvPr id="69" name="Google Shape;335;p19">
            <a:extLst>
              <a:ext uri="{FF2B5EF4-FFF2-40B4-BE49-F238E27FC236}">
                <a16:creationId xmlns:a16="http://schemas.microsoft.com/office/drawing/2014/main" id="{A87B9454-D0CF-0B12-F93F-0EA6B9EFA788}"/>
              </a:ext>
            </a:extLst>
          </p:cNvPr>
          <p:cNvSpPr txBox="1">
            <a:spLocks/>
          </p:cNvSpPr>
          <p:nvPr/>
        </p:nvSpPr>
        <p:spPr>
          <a:xfrm>
            <a:off x="699429" y="2748934"/>
            <a:ext cx="3259067" cy="1239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4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 lang="en-US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SzPct val="150000"/>
              <a:buFont typeface="Courier New" panose="020B0604020202020204" pitchFamily="34" charset="0"/>
              <a:buChar char="o"/>
            </a:pPr>
            <a:r>
              <a:rPr lang="en-US" sz="1000" b="0" dirty="0">
                <a:latin typeface="Arial"/>
                <a:cs typeface="Arial"/>
              </a:rPr>
              <a:t>Ability to Solve Prompt</a:t>
            </a:r>
          </a:p>
          <a:p>
            <a:pPr marL="285750" indent="-285750">
              <a:lnSpc>
                <a:spcPct val="150000"/>
              </a:lnSpc>
              <a:buSzPct val="150000"/>
              <a:buFont typeface="Courier New" panose="020B0604020202020204" pitchFamily="34" charset="0"/>
              <a:buChar char="o"/>
            </a:pPr>
            <a:r>
              <a:rPr lang="en-US" sz="1000" b="0" dirty="0">
                <a:latin typeface="Arial"/>
                <a:cs typeface="Arial"/>
              </a:rPr>
              <a:t>Conciseness of Solution</a:t>
            </a:r>
          </a:p>
          <a:p>
            <a:pPr marL="285750" indent="-285750">
              <a:lnSpc>
                <a:spcPct val="150000"/>
              </a:lnSpc>
              <a:buSzPct val="150000"/>
              <a:buFont typeface="Courier New" panose="020B0604020202020204" pitchFamily="34" charset="0"/>
              <a:buChar char="o"/>
            </a:pPr>
            <a:r>
              <a:rPr lang="en-US" sz="1000" b="0" dirty="0">
                <a:latin typeface="Arial"/>
                <a:cs typeface="Arial"/>
              </a:rPr>
              <a:t>Variable Consistency</a:t>
            </a:r>
            <a:endParaRPr lang="en-US" sz="1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SzPct val="150000"/>
              <a:buFont typeface="Courier New" panose="020B0604020202020204" pitchFamily="34" charset="0"/>
              <a:buChar char="o"/>
            </a:pPr>
            <a:r>
              <a:rPr lang="en-US" sz="1000" b="0" dirty="0">
                <a:latin typeface="Arial"/>
                <a:cs typeface="Arial"/>
              </a:rPr>
              <a:t>Syntax Adherence</a:t>
            </a:r>
            <a:endParaRPr lang="en-US" sz="1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SzPct val="150000"/>
              <a:buFont typeface="Courier New" panose="020B0604020202020204" pitchFamily="34" charset="0"/>
              <a:buChar char="o"/>
            </a:pPr>
            <a:endParaRPr lang="en-US" sz="1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7345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ogress pt. 6.2</a:t>
            </a:r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88A0E019-5830-4A8E-22C0-ACFB2D554E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3062456"/>
              </p:ext>
            </p:extLst>
          </p:nvPr>
        </p:nvGraphicFramePr>
        <p:xfrm>
          <a:off x="3951742" y="1506361"/>
          <a:ext cx="4942405" cy="2965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FCC4C9DE-6CF9-BA75-D8BA-B88E33DC2BD4}"/>
              </a:ext>
            </a:extLst>
          </p:cNvPr>
          <p:cNvGrpSpPr/>
          <p:nvPr/>
        </p:nvGrpSpPr>
        <p:grpSpPr>
          <a:xfrm>
            <a:off x="426986" y="1470424"/>
            <a:ext cx="3508007" cy="3556498"/>
            <a:chOff x="452387" y="1237540"/>
            <a:chExt cx="3508007" cy="3556498"/>
          </a:xfrm>
        </p:grpSpPr>
        <p:sp>
          <p:nvSpPr>
            <p:cNvPr id="5" name="Google Shape;335;p19">
              <a:extLst>
                <a:ext uri="{FF2B5EF4-FFF2-40B4-BE49-F238E27FC236}">
                  <a16:creationId xmlns:a16="http://schemas.microsoft.com/office/drawing/2014/main" id="{CCC2396E-0194-2139-968B-8437A8652C5B}"/>
                </a:ext>
              </a:extLst>
            </p:cNvPr>
            <p:cNvSpPr txBox="1">
              <a:spLocks/>
            </p:cNvSpPr>
            <p:nvPr/>
          </p:nvSpPr>
          <p:spPr>
            <a:xfrm>
              <a:off x="452387" y="1237540"/>
              <a:ext cx="3508007" cy="35564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4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2600"/>
                <a:buFont typeface="Raleway"/>
                <a:buNone/>
                <a:defRPr sz="2600" b="1" i="0" u="none" strike="noStrike" cap="none">
                  <a:solidFill>
                    <a:schemeClr val="dk2"/>
                  </a:solidFill>
                  <a:latin typeface="Raleway"/>
                  <a:ea typeface="Raleway"/>
                  <a:cs typeface="Raleway"/>
                  <a:sym typeface="Raleway"/>
                </a:defRPr>
              </a:lvl9pPr>
            </a:lstStyle>
            <a:p>
              <a:r>
                <a:rPr lang="en-US" sz="1800" dirty="0">
                  <a:latin typeface="Arial"/>
                  <a:cs typeface="Arial"/>
                </a:rPr>
                <a:t>Test Model</a:t>
              </a:r>
            </a:p>
            <a:p>
              <a:endParaRPr lang="en-US" sz="600" dirty="0">
                <a:latin typeface="Arial"/>
                <a:cs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0" dirty="0">
                  <a:latin typeface="Arial"/>
                  <a:cs typeface="Arial"/>
                </a:rPr>
                <a:t>To test the model, we prompted it with different tasks we wanted it to solve and assessed the output</a:t>
              </a:r>
            </a:p>
            <a:p>
              <a:endParaRPr lang="en-US" sz="400" b="0" dirty="0">
                <a:latin typeface="Arial"/>
                <a:cs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0" dirty="0">
                  <a:latin typeface="Arial"/>
                  <a:cs typeface="Arial"/>
                </a:rPr>
                <a:t>Scoring can be:</a:t>
              </a:r>
            </a:p>
            <a:p>
              <a:pPr lvl="3"/>
              <a:endParaRPr lang="en-US" sz="2000" b="0" dirty="0">
                <a:latin typeface="Arial"/>
                <a:cs typeface="Arial"/>
              </a:endParaRPr>
            </a:p>
            <a:p>
              <a:pPr lvl="3"/>
              <a:endParaRPr lang="en-US" sz="2000" b="0" dirty="0">
                <a:latin typeface="Arial"/>
                <a:cs typeface="Arial"/>
              </a:endParaRPr>
            </a:p>
            <a:p>
              <a:endParaRPr lang="en-US" sz="600" b="0" dirty="0">
                <a:latin typeface="Arial"/>
                <a:cs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0" dirty="0">
                  <a:latin typeface="Arial"/>
                  <a:cs typeface="Arial"/>
                </a:rPr>
                <a:t>We see the results as a relative success. More data would lead to better performance 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0221D6A5-2ECB-4040-42C7-33B7094EA71B}"/>
                </a:ext>
              </a:extLst>
            </p:cNvPr>
            <p:cNvSpPr txBox="1"/>
            <p:nvPr/>
          </p:nvSpPr>
          <p:spPr>
            <a:xfrm>
              <a:off x="804397" y="2680832"/>
              <a:ext cx="2412840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dirty="0"/>
                <a:t>1: unusable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dirty="0"/>
                <a:t>2: runs but doesn’t solve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dirty="0"/>
                <a:t>3: solves the prompt</a:t>
              </a: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25713532-6818-664F-A465-E0A623101FDD}"/>
              </a:ext>
            </a:extLst>
          </p:cNvPr>
          <p:cNvSpPr txBox="1"/>
          <p:nvPr/>
        </p:nvSpPr>
        <p:spPr>
          <a:xfrm>
            <a:off x="6833939" y="2677813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19C8DFD-6067-8A3B-D6E8-831AA75F865F}"/>
              </a:ext>
            </a:extLst>
          </p:cNvPr>
          <p:cNvSpPr txBox="1"/>
          <p:nvPr/>
        </p:nvSpPr>
        <p:spPr>
          <a:xfrm>
            <a:off x="6280918" y="360279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8BD1BC0-6C13-7134-64EB-58BDD10E9433}"/>
              </a:ext>
            </a:extLst>
          </p:cNvPr>
          <p:cNvSpPr txBox="1"/>
          <p:nvPr/>
        </p:nvSpPr>
        <p:spPr>
          <a:xfrm>
            <a:off x="5762730" y="2677813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831951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19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2" name="Google Shape;562;p19"/>
          <p:cNvSpPr txBox="1"/>
          <p:nvPr/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</a:pPr>
            <a:r>
              <a:rPr lang="en-US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maining work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BEA209E-0855-0026-BFEB-89260D4C225C}"/>
              </a:ext>
            </a:extLst>
          </p:cNvPr>
          <p:cNvGrpSpPr/>
          <p:nvPr/>
        </p:nvGrpSpPr>
        <p:grpSpPr>
          <a:xfrm>
            <a:off x="311700" y="1367668"/>
            <a:ext cx="1919346" cy="3031046"/>
            <a:chOff x="311700" y="1367668"/>
            <a:chExt cx="1919346" cy="3031046"/>
          </a:xfrm>
        </p:grpSpPr>
        <p:sp>
          <p:nvSpPr>
            <p:cNvPr id="578" name="Google Shape;578;p19"/>
            <p:cNvSpPr txBox="1"/>
            <p:nvPr/>
          </p:nvSpPr>
          <p:spPr>
            <a:xfrm>
              <a:off x="311700" y="2491131"/>
              <a:ext cx="1911624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inetune model</a:t>
              </a:r>
              <a:endParaRPr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9" name="Google Shape;579;p19"/>
            <p:cNvSpPr txBox="1"/>
            <p:nvPr/>
          </p:nvSpPr>
          <p:spPr>
            <a:xfrm>
              <a:off x="319446" y="2863614"/>
              <a:ext cx="1911600" cy="153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reate masked inputs to improve model performance and optimize the hyperparameters to get best results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1" name="Google Shape;581;p19"/>
            <p:cNvSpPr/>
            <p:nvPr/>
          </p:nvSpPr>
          <p:spPr>
            <a:xfrm>
              <a:off x="829186" y="1367668"/>
              <a:ext cx="876644" cy="876644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" name="Graphic 2" descr="Teacher">
              <a:extLst>
                <a:ext uri="{FF2B5EF4-FFF2-40B4-BE49-F238E27FC236}">
                  <a16:creationId xmlns:a16="http://schemas.microsoft.com/office/drawing/2014/main" id="{FF0387D5-6464-647D-3860-304D24248D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1868" y="1442125"/>
              <a:ext cx="734301" cy="734301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5CE0832-F05A-6626-069F-539EAF8168DD}"/>
              </a:ext>
            </a:extLst>
          </p:cNvPr>
          <p:cNvGrpSpPr/>
          <p:nvPr/>
        </p:nvGrpSpPr>
        <p:grpSpPr>
          <a:xfrm>
            <a:off x="2547529" y="1367668"/>
            <a:ext cx="1911624" cy="2707346"/>
            <a:chOff x="2514689" y="1367668"/>
            <a:chExt cx="1911624" cy="2707346"/>
          </a:xfrm>
        </p:grpSpPr>
        <p:sp>
          <p:nvSpPr>
            <p:cNvPr id="563" name="Google Shape;563;p19"/>
            <p:cNvSpPr txBox="1"/>
            <p:nvPr/>
          </p:nvSpPr>
          <p:spPr>
            <a:xfrm>
              <a:off x="2514689" y="2491131"/>
              <a:ext cx="1911624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ugment data</a:t>
              </a:r>
              <a:endParaRPr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4" name="Google Shape;564;p19"/>
            <p:cNvSpPr txBox="1"/>
            <p:nvPr/>
          </p:nvSpPr>
          <p:spPr>
            <a:xfrm>
              <a:off x="2514689" y="2863614"/>
              <a:ext cx="1911600" cy="1211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5000 samples of Python might not be enough to get better results. Augmenting the data will give us more to work with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6" name="Google Shape;566;p19"/>
            <p:cNvSpPr/>
            <p:nvPr/>
          </p:nvSpPr>
          <p:spPr>
            <a:xfrm>
              <a:off x="3032178" y="1367668"/>
              <a:ext cx="876644" cy="876644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" name="Graphic 4" descr="Database">
              <a:extLst>
                <a:ext uri="{FF2B5EF4-FFF2-40B4-BE49-F238E27FC236}">
                  <a16:creationId xmlns:a16="http://schemas.microsoft.com/office/drawing/2014/main" id="{0C10638A-FFC6-393B-5D0E-4DE21A0613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103349" y="1446902"/>
              <a:ext cx="734301" cy="734301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319EDB-D80E-125C-8CE7-89A5605F21DA}"/>
              </a:ext>
            </a:extLst>
          </p:cNvPr>
          <p:cNvGrpSpPr/>
          <p:nvPr/>
        </p:nvGrpSpPr>
        <p:grpSpPr>
          <a:xfrm>
            <a:off x="4890553" y="1367263"/>
            <a:ext cx="1911624" cy="3063851"/>
            <a:chOff x="6920667" y="1367668"/>
            <a:chExt cx="1911624" cy="3063851"/>
          </a:xfrm>
        </p:grpSpPr>
        <p:sp>
          <p:nvSpPr>
            <p:cNvPr id="573" name="Google Shape;573;p19"/>
            <p:cNvSpPr txBox="1"/>
            <p:nvPr/>
          </p:nvSpPr>
          <p:spPr>
            <a:xfrm>
              <a:off x="6920667" y="2493555"/>
              <a:ext cx="1911624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utomate</a:t>
              </a:r>
              <a:endParaRPr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4" name="Google Shape;574;p19"/>
            <p:cNvSpPr txBox="1"/>
            <p:nvPr/>
          </p:nvSpPr>
          <p:spPr>
            <a:xfrm>
              <a:off x="6920691" y="2864019"/>
              <a:ext cx="1911600" cy="1567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Figure out a way to automate the model deployment, since we are now running it directly from the Python notebook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6" name="Google Shape;576;p19"/>
            <p:cNvSpPr/>
            <p:nvPr/>
          </p:nvSpPr>
          <p:spPr>
            <a:xfrm>
              <a:off x="7438162" y="1367668"/>
              <a:ext cx="876644" cy="876644"/>
            </a:xfrm>
            <a:prstGeom prst="ellipse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" name="Graphic 8" descr="Checklist">
              <a:extLst>
                <a:ext uri="{FF2B5EF4-FFF2-40B4-BE49-F238E27FC236}">
                  <a16:creationId xmlns:a16="http://schemas.microsoft.com/office/drawing/2014/main" id="{DF492E44-B276-93F5-A31D-C7C1E9C76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509328" y="1437638"/>
              <a:ext cx="734301" cy="734301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950C0E-3A74-C301-136A-C22DE99CD9B0}"/>
              </a:ext>
            </a:extLst>
          </p:cNvPr>
          <p:cNvGrpSpPr/>
          <p:nvPr/>
        </p:nvGrpSpPr>
        <p:grpSpPr>
          <a:xfrm>
            <a:off x="7039523" y="1367263"/>
            <a:ext cx="1934944" cy="3418751"/>
            <a:chOff x="4717676" y="1367668"/>
            <a:chExt cx="1934944" cy="3418751"/>
          </a:xfrm>
        </p:grpSpPr>
        <p:sp>
          <p:nvSpPr>
            <p:cNvPr id="568" name="Google Shape;568;p19"/>
            <p:cNvSpPr txBox="1"/>
            <p:nvPr/>
          </p:nvSpPr>
          <p:spPr>
            <a:xfrm>
              <a:off x="4717676" y="2491535"/>
              <a:ext cx="1911624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chemeClr val="dk1"/>
                  </a:solidFill>
                </a:rPr>
                <a:t>Optimize code</a:t>
              </a:r>
              <a:endParaRPr sz="18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9" name="Google Shape;569;p19"/>
            <p:cNvSpPr txBox="1"/>
            <p:nvPr/>
          </p:nvSpPr>
          <p:spPr>
            <a:xfrm>
              <a:off x="4741020" y="2864019"/>
              <a:ext cx="1911600" cy="192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mprove efficiency of the model’s runtime and work on the clarity of the written code by adding comments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8EE3184-5BE1-E7E4-AD52-0EBD5228D910}"/>
                </a:ext>
              </a:extLst>
            </p:cNvPr>
            <p:cNvGrpSpPr/>
            <p:nvPr/>
          </p:nvGrpSpPr>
          <p:grpSpPr>
            <a:xfrm>
              <a:off x="5235170" y="1367668"/>
              <a:ext cx="876644" cy="876644"/>
              <a:chOff x="5235170" y="1367668"/>
              <a:chExt cx="876644" cy="876644"/>
            </a:xfrm>
          </p:grpSpPr>
          <p:sp>
            <p:nvSpPr>
              <p:cNvPr id="571" name="Google Shape;571;p19"/>
              <p:cNvSpPr/>
              <p:nvPr/>
            </p:nvSpPr>
            <p:spPr>
              <a:xfrm>
                <a:off x="5235170" y="1367668"/>
                <a:ext cx="876644" cy="876644"/>
              </a:xfrm>
              <a:prstGeom prst="ellipse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1" name="Graphic 10" descr="Snake">
                <a:extLst>
                  <a:ext uri="{FF2B5EF4-FFF2-40B4-BE49-F238E27FC236}">
                    <a16:creationId xmlns:a16="http://schemas.microsoft.com/office/drawing/2014/main" id="{69EF46E9-F201-8175-FD8D-83B2326262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314304" y="1437638"/>
                <a:ext cx="718369" cy="718369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2"/>
          <p:cNvSpPr txBox="1"/>
          <p:nvPr/>
        </p:nvSpPr>
        <p:spPr>
          <a:xfrm>
            <a:off x="535841" y="1266990"/>
            <a:ext cx="257190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Graphic 3" descr="List">
            <a:extLst>
              <a:ext uri="{FF2B5EF4-FFF2-40B4-BE49-F238E27FC236}">
                <a16:creationId xmlns:a16="http://schemas.microsoft.com/office/drawing/2014/main" id="{944ABBBF-0C95-F1D6-3C54-5F003C1F7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2448" y="3317336"/>
            <a:ext cx="1412543" cy="141254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9A933E7-F0C2-65B2-5097-06578ECC2457}"/>
              </a:ext>
            </a:extLst>
          </p:cNvPr>
          <p:cNvSpPr txBox="1"/>
          <p:nvPr/>
        </p:nvSpPr>
        <p:spPr>
          <a:xfrm>
            <a:off x="4345234" y="1275821"/>
            <a:ext cx="4531057" cy="3132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Motivation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Goals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Use cases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Example &amp; sample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Model structure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Progress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Remaining work</a:t>
            </a:r>
          </a:p>
          <a:p>
            <a:pPr marL="285750" indent="-285750">
              <a:lnSpc>
                <a:spcPts val="3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dirty="0"/>
              <a:t>Conclusion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A6454C-2234-4E9C-89E2-17B5AC25B6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A6454C-2234-4E9C-89E2-17B5AC25B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4287F08-C96F-48DE-B6BF-E5AFC2C5A288}"/>
              </a:ext>
            </a:extLst>
          </p:cNvPr>
          <p:cNvSpPr/>
          <p:nvPr/>
        </p:nvSpPr>
        <p:spPr>
          <a:xfrm>
            <a:off x="1" y="0"/>
            <a:ext cx="3676850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547001-DA20-4D7B-BC7D-5C6032FDED23}"/>
              </a:ext>
            </a:extLst>
          </p:cNvPr>
          <p:cNvGrpSpPr/>
          <p:nvPr/>
        </p:nvGrpSpPr>
        <p:grpSpPr>
          <a:xfrm>
            <a:off x="522990" y="2163962"/>
            <a:ext cx="2630872" cy="556267"/>
            <a:chOff x="468463" y="997547"/>
            <a:chExt cx="3006257" cy="5562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942F6F6-F168-43E6-97D3-F1BB358CB6C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8463" y="1553814"/>
              <a:ext cx="3006257" cy="0"/>
            </a:xfrm>
            <a:prstGeom prst="line">
              <a:avLst/>
            </a:prstGeom>
            <a:ln w="28575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5333A51-EEA9-4F1D-BEB0-FB153C687FB5}"/>
                </a:ext>
              </a:extLst>
            </p:cNvPr>
            <p:cNvSpPr txBox="1">
              <a:spLocks/>
            </p:cNvSpPr>
            <p:nvPr/>
          </p:nvSpPr>
          <p:spPr>
            <a:xfrm>
              <a:off x="535840" y="997547"/>
              <a:ext cx="2938880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</a:rPr>
                <a:t>Conclusion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4737704-37BF-26DA-B4EB-FB6A5618313D}"/>
              </a:ext>
            </a:extLst>
          </p:cNvPr>
          <p:cNvGrpSpPr/>
          <p:nvPr/>
        </p:nvGrpSpPr>
        <p:grpSpPr>
          <a:xfrm>
            <a:off x="3989589" y="3496173"/>
            <a:ext cx="4819961" cy="738664"/>
            <a:chOff x="3989589" y="3427423"/>
            <a:chExt cx="4819961" cy="738664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433B2F-175C-A3FF-C351-95710EB09913}"/>
                </a:ext>
              </a:extLst>
            </p:cNvPr>
            <p:cNvSpPr txBox="1">
              <a:spLocks/>
            </p:cNvSpPr>
            <p:nvPr/>
          </p:nvSpPr>
          <p:spPr>
            <a:xfrm>
              <a:off x="4691110" y="3427423"/>
              <a:ext cx="4118440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None/>
                <a:tabLst/>
                <a:defRPr/>
              </a:pPr>
              <a:r>
                <a:rPr lang="en-US" kern="1200" dirty="0">
                  <a:solidFill>
                    <a:schemeClr val="bg2"/>
                  </a:solidFill>
                  <a:latin typeface="Raleway" pitchFamily="2" charset="-52"/>
                  <a:ea typeface="+mn-ea"/>
                </a:rPr>
                <a:t>The </a:t>
              </a:r>
              <a:r>
                <a:rPr lang="en-US" b="1" kern="1200" dirty="0">
                  <a:solidFill>
                    <a:schemeClr val="tx1"/>
                  </a:solidFill>
                  <a:latin typeface="Raleway" pitchFamily="2" charset="-52"/>
                  <a:ea typeface="+mn-ea"/>
                </a:rPr>
                <a:t>success</a:t>
              </a:r>
              <a:r>
                <a:rPr lang="en-US" kern="1200" dirty="0">
                  <a:solidFill>
                    <a:schemeClr val="bg2"/>
                  </a:solidFill>
                  <a:latin typeface="Raleway" pitchFamily="2" charset="-52"/>
                  <a:ea typeface="+mn-ea"/>
                </a:rPr>
                <a:t> of GPT2 and GPT3 could pave the way for </a:t>
              </a:r>
              <a:r>
                <a:rPr lang="en-US" b="1" kern="1200" dirty="0">
                  <a:solidFill>
                    <a:schemeClr val="tx1"/>
                  </a:solidFill>
                  <a:latin typeface="Raleway" pitchFamily="2" charset="-52"/>
                  <a:ea typeface="+mn-ea"/>
                </a:rPr>
                <a:t>newer architectures </a:t>
              </a:r>
              <a:r>
                <a:rPr lang="en-US" kern="1200" dirty="0">
                  <a:solidFill>
                    <a:schemeClr val="bg2"/>
                  </a:solidFill>
                  <a:latin typeface="Raleway" pitchFamily="2" charset="-52"/>
                  <a:ea typeface="+mn-ea"/>
                </a:rPr>
                <a:t>in the realm of Natural Language Processing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DB7A8E5-E003-A1E5-4510-D7CFEF2D83CF}"/>
                </a:ext>
              </a:extLst>
            </p:cNvPr>
            <p:cNvGrpSpPr/>
            <p:nvPr/>
          </p:nvGrpSpPr>
          <p:grpSpPr>
            <a:xfrm>
              <a:off x="3989589" y="3427423"/>
              <a:ext cx="549711" cy="549711"/>
              <a:chOff x="4003340" y="3644997"/>
              <a:chExt cx="549711" cy="549711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CFEBAB4-E9E2-FEBE-75B8-E784035AC6B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03340" y="3644997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 w="25400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latin typeface="Raleway" pitchFamily="2" charset="-52"/>
                </a:endParaRPr>
              </a:p>
            </p:txBody>
          </p:sp>
          <p:pic>
            <p:nvPicPr>
              <p:cNvPr id="27" name="Graphic 26" descr="Crown">
                <a:extLst>
                  <a:ext uri="{FF2B5EF4-FFF2-40B4-BE49-F238E27FC236}">
                    <a16:creationId xmlns:a16="http://schemas.microsoft.com/office/drawing/2014/main" id="{9A30366E-2923-0137-5919-FDC4E031F1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037343" y="3664129"/>
                <a:ext cx="488208" cy="488208"/>
              </a:xfrm>
              <a:prstGeom prst="rect">
                <a:avLst/>
              </a:prstGeom>
            </p:spPr>
          </p:pic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A789B9D-367C-1F13-C49D-58327C242788}"/>
              </a:ext>
            </a:extLst>
          </p:cNvPr>
          <p:cNvGrpSpPr/>
          <p:nvPr/>
        </p:nvGrpSpPr>
        <p:grpSpPr>
          <a:xfrm>
            <a:off x="3989590" y="933436"/>
            <a:ext cx="4888686" cy="984885"/>
            <a:chOff x="3989590" y="933436"/>
            <a:chExt cx="4888686" cy="98488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7AE2076-3439-7D8F-5BCA-295298FDF86C}"/>
                </a:ext>
              </a:extLst>
            </p:cNvPr>
            <p:cNvGrpSpPr/>
            <p:nvPr/>
          </p:nvGrpSpPr>
          <p:grpSpPr>
            <a:xfrm>
              <a:off x="3989590" y="933436"/>
              <a:ext cx="4888686" cy="984885"/>
              <a:chOff x="3989590" y="864686"/>
              <a:chExt cx="4888686" cy="984885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D77D517C-F939-4B27-95EA-A066BBB546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91109" y="864686"/>
                <a:ext cx="4187167" cy="98488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6pPr>
                <a:lvl7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7pPr>
                <a:lvl8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8pPr>
                <a:lvl9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lang="en-US" kern="1200" dirty="0">
                    <a:solidFill>
                      <a:schemeClr val="bg2"/>
                    </a:solidFill>
                    <a:latin typeface="Raleway" pitchFamily="2" charset="-52"/>
                    <a:ea typeface="+mn-ea"/>
                  </a:rPr>
                  <a:t>Training for </a:t>
                </a:r>
                <a:r>
                  <a:rPr lang="en-US" b="1" kern="1200" dirty="0">
                    <a:solidFill>
                      <a:schemeClr val="tx1"/>
                    </a:solidFill>
                    <a:latin typeface="Raleway" pitchFamily="2" charset="-52"/>
                    <a:ea typeface="+mn-ea"/>
                  </a:rPr>
                  <a:t>GPT2</a:t>
                </a:r>
                <a:r>
                  <a:rPr lang="en-US" kern="1200" dirty="0">
                    <a:solidFill>
                      <a:schemeClr val="bg2"/>
                    </a:solidFill>
                    <a:latin typeface="Raleway" pitchFamily="2" charset="-52"/>
                    <a:ea typeface="+mn-ea"/>
                  </a:rPr>
                  <a:t>, or any Neural Network model, requires an advanced understanding of the underlying mechanisms that make it work</a:t>
                </a:r>
                <a:endParaRPr kumimoji="0" lang="en-US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Raleway" pitchFamily="2" charset="-52"/>
                  <a:ea typeface="+mn-ea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C0C0F6FC-D31F-45E0-81CB-EA6D1111784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989590" y="864686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 w="25400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latin typeface="Raleway" pitchFamily="2" charset="-52"/>
                </a:endParaRPr>
              </a:p>
            </p:txBody>
          </p:sp>
        </p:grpSp>
        <p:pic>
          <p:nvPicPr>
            <p:cNvPr id="34" name="Graphic 33" descr="Puzzle pieces">
              <a:extLst>
                <a:ext uri="{FF2B5EF4-FFF2-40B4-BE49-F238E27FC236}">
                  <a16:creationId xmlns:a16="http://schemas.microsoft.com/office/drawing/2014/main" id="{41DD5BA5-A93B-947F-950A-1017264EF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031097" y="950805"/>
              <a:ext cx="500581" cy="500581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7CE7B53-F191-FF15-BBE8-C1F3DD41A976}"/>
              </a:ext>
            </a:extLst>
          </p:cNvPr>
          <p:cNvGrpSpPr/>
          <p:nvPr/>
        </p:nvGrpSpPr>
        <p:grpSpPr>
          <a:xfrm>
            <a:off x="3979774" y="2308098"/>
            <a:ext cx="4829776" cy="738664"/>
            <a:chOff x="3979774" y="2308098"/>
            <a:chExt cx="4829776" cy="738664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90A1B1D-98C5-3E21-57D8-BC16E87885E3}"/>
                </a:ext>
              </a:extLst>
            </p:cNvPr>
            <p:cNvGrpSpPr/>
            <p:nvPr/>
          </p:nvGrpSpPr>
          <p:grpSpPr>
            <a:xfrm>
              <a:off x="3989590" y="2308098"/>
              <a:ext cx="4819960" cy="738664"/>
              <a:chOff x="3989590" y="2146055"/>
              <a:chExt cx="4819960" cy="738664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9A852710-9981-4E36-80E2-B2360A1B083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91110" y="2146055"/>
                <a:ext cx="4118440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6pPr>
                <a:lvl7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7pPr>
                <a:lvl8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8pPr>
                <a:lvl9pPr marL="91440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None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None/>
                  <a:tabLst/>
                  <a:defRPr/>
                </a:pPr>
                <a:r>
                  <a:rPr lang="en-US" b="1" kern="1200" dirty="0">
                    <a:solidFill>
                      <a:schemeClr val="tx1"/>
                    </a:solidFill>
                    <a:latin typeface="Raleway" pitchFamily="2" charset="-52"/>
                    <a:ea typeface="+mn-ea"/>
                  </a:rPr>
                  <a:t>Optimizing</a:t>
                </a:r>
                <a:r>
                  <a:rPr lang="en-US" kern="1200" dirty="0">
                    <a:solidFill>
                      <a:schemeClr val="tx1"/>
                    </a:solidFill>
                    <a:latin typeface="Raleway" pitchFamily="2" charset="-52"/>
                    <a:ea typeface="+mn-ea"/>
                  </a:rPr>
                  <a:t> </a:t>
                </a:r>
                <a:r>
                  <a:rPr lang="en-US" b="1" kern="1200" dirty="0">
                    <a:solidFill>
                      <a:schemeClr val="tx1"/>
                    </a:solidFill>
                    <a:latin typeface="Raleway" pitchFamily="2" charset="-52"/>
                    <a:ea typeface="+mn-ea"/>
                  </a:rPr>
                  <a:t>training</a:t>
                </a:r>
                <a:r>
                  <a:rPr lang="en-US" kern="1200" dirty="0">
                    <a:solidFill>
                      <a:schemeClr val="bg2"/>
                    </a:solidFill>
                    <a:latin typeface="Raleway" pitchFamily="2" charset="-52"/>
                    <a:ea typeface="+mn-ea"/>
                  </a:rPr>
                  <a:t> time is of paramount importance, as it </a:t>
                </a:r>
                <a:r>
                  <a:rPr lang="en-US" b="1" kern="1200" dirty="0">
                    <a:solidFill>
                      <a:schemeClr val="tx1"/>
                    </a:solidFill>
                    <a:latin typeface="Raleway" pitchFamily="2" charset="-52"/>
                    <a:ea typeface="+mn-ea"/>
                  </a:rPr>
                  <a:t>reduces</a:t>
                </a:r>
                <a:r>
                  <a:rPr lang="en-US" kern="1200" dirty="0">
                    <a:solidFill>
                      <a:schemeClr val="bg2"/>
                    </a:solidFill>
                    <a:latin typeface="Raleway" pitchFamily="2" charset="-52"/>
                    <a:ea typeface="+mn-ea"/>
                  </a:rPr>
                  <a:t> time usage and </a:t>
                </a:r>
                <a:r>
                  <a:rPr lang="en-US" b="1" kern="1200" dirty="0">
                    <a:solidFill>
                      <a:schemeClr val="tx1"/>
                    </a:solidFill>
                    <a:latin typeface="Raleway" pitchFamily="2" charset="-52"/>
                    <a:ea typeface="+mn-ea"/>
                  </a:rPr>
                  <a:t>expenses</a:t>
                </a:r>
                <a:r>
                  <a:rPr lang="en-US" kern="1200" dirty="0">
                    <a:solidFill>
                      <a:schemeClr val="bg2"/>
                    </a:solidFill>
                    <a:latin typeface="Raleway" pitchFamily="2" charset="-52"/>
                    <a:ea typeface="+mn-ea"/>
                  </a:rPr>
                  <a:t> by a significant amount</a:t>
                </a:r>
                <a:endParaRPr kumimoji="0" lang="en-US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Raleway" pitchFamily="2" charset="-52"/>
                  <a:ea typeface="+mn-ea"/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2A3F74CD-1B25-4B51-BE11-F6BC9509BB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989590" y="2163962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 w="25400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latin typeface="Raleway" pitchFamily="2" charset="-52"/>
                </a:endParaRPr>
              </a:p>
            </p:txBody>
          </p:sp>
        </p:grpSp>
        <p:pic>
          <p:nvPicPr>
            <p:cNvPr id="41" name="Graphic 40" descr="Piggy Bank">
              <a:extLst>
                <a:ext uri="{FF2B5EF4-FFF2-40B4-BE49-F238E27FC236}">
                  <a16:creationId xmlns:a16="http://schemas.microsoft.com/office/drawing/2014/main" id="{0501435A-DCD1-C710-2D64-B66513AF2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flipH="1">
              <a:off x="3979774" y="2350571"/>
              <a:ext cx="549710" cy="5251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27876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21"/>
          <p:cNvSpPr txBox="1"/>
          <p:nvPr/>
        </p:nvSpPr>
        <p:spPr>
          <a:xfrm>
            <a:off x="1407174" y="2263973"/>
            <a:ext cx="684782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Quattrocento Sans"/>
              <a:buNone/>
            </a:pPr>
            <a:r>
              <a:rPr lang="en-US" sz="4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Questions or comments?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Google Shape;606;p2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E1B3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7" name="Google Shape;607;p22"/>
          <p:cNvSpPr txBox="1"/>
          <p:nvPr/>
        </p:nvSpPr>
        <p:spPr>
          <a:xfrm>
            <a:off x="2810587" y="2263973"/>
            <a:ext cx="3522826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Quattrocento Sans"/>
              <a:buNone/>
            </a:pPr>
            <a:r>
              <a:rPr lang="en-US" sz="4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anks!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2"/>
          <p:cNvSpPr txBox="1"/>
          <p:nvPr/>
        </p:nvSpPr>
        <p:spPr>
          <a:xfrm>
            <a:off x="535841" y="1266990"/>
            <a:ext cx="257190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"/>
                <a:sym typeface="Arial"/>
              </a:rPr>
              <a:t>Motivation</a:t>
            </a:r>
            <a:endParaRPr sz="1400" b="0" i="0" u="none" strike="noStrike" cap="none" dirty="0">
              <a:solidFill>
                <a:srgbClr val="000000"/>
              </a:solidFill>
              <a:latin typeface=""/>
              <a:sym typeface="Arial"/>
            </a:endParaRPr>
          </a:p>
        </p:txBody>
      </p:sp>
      <p:grpSp>
        <p:nvGrpSpPr>
          <p:cNvPr id="86" name="Google Shape;86;p2"/>
          <p:cNvGrpSpPr/>
          <p:nvPr/>
        </p:nvGrpSpPr>
        <p:grpSpPr>
          <a:xfrm>
            <a:off x="3953947" y="1234884"/>
            <a:ext cx="4505820" cy="830997"/>
            <a:chOff x="3953154" y="1266990"/>
            <a:chExt cx="4505820" cy="830997"/>
          </a:xfrm>
        </p:grpSpPr>
        <p:sp>
          <p:nvSpPr>
            <p:cNvPr id="87" name="Google Shape;87;p2"/>
            <p:cNvSpPr txBox="1"/>
            <p:nvPr/>
          </p:nvSpPr>
          <p:spPr>
            <a:xfrm>
              <a:off x="4613423" y="1266990"/>
              <a:ext cx="3845551" cy="8309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“The Unreasonable Effectiveness of </a:t>
              </a:r>
              <a:r>
                <a:rPr lang="en-US" sz="2000" b="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R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ecurrent </a:t>
              </a:r>
              <a:r>
                <a:rPr lang="en-US" sz="2000" b="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eural </a:t>
              </a:r>
              <a:r>
                <a:rPr lang="en-US" sz="2000" b="0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N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etworks”</a:t>
              </a: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dirty="0">
                  <a:solidFill>
                    <a:schemeClr val="dk2"/>
                  </a:solidFill>
                </a:rPr>
                <a:t>- Andrej </a:t>
              </a:r>
              <a:r>
                <a:rPr lang="en-US" dirty="0" err="1">
                  <a:solidFill>
                    <a:schemeClr val="dk2"/>
                  </a:solidFill>
                </a:rPr>
                <a:t>Kaparthy</a:t>
              </a:r>
              <a:endParaRPr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88" name="Google Shape;88;p2"/>
            <p:cNvGrpSpPr/>
            <p:nvPr/>
          </p:nvGrpSpPr>
          <p:grpSpPr>
            <a:xfrm>
              <a:off x="3953154" y="1266990"/>
              <a:ext cx="549711" cy="549711"/>
              <a:chOff x="3953154" y="1449699"/>
              <a:chExt cx="549711" cy="549711"/>
            </a:xfrm>
          </p:grpSpPr>
          <p:sp>
            <p:nvSpPr>
              <p:cNvPr id="89" name="Google Shape;89;p2"/>
              <p:cNvSpPr/>
              <p:nvPr/>
            </p:nvSpPr>
            <p:spPr>
              <a:xfrm>
                <a:off x="3953154" y="1449699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90" name="Google Shape;90;p2"/>
              <p:cNvGrpSpPr/>
              <p:nvPr/>
            </p:nvGrpSpPr>
            <p:grpSpPr>
              <a:xfrm>
                <a:off x="4055941" y="1552485"/>
                <a:ext cx="344137" cy="344138"/>
                <a:chOff x="2744788" y="3132138"/>
                <a:chExt cx="696912" cy="696913"/>
              </a:xfrm>
            </p:grpSpPr>
            <p:cxnSp>
              <p:nvCxnSpPr>
                <p:cNvPr id="91" name="Google Shape;91;p2"/>
                <p:cNvCxnSpPr/>
                <p:nvPr/>
              </p:nvCxnSpPr>
              <p:spPr>
                <a:xfrm>
                  <a:off x="3130550" y="3517901"/>
                  <a:ext cx="0" cy="0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92" name="Google Shape;92;p2"/>
                <p:cNvSpPr/>
                <p:nvPr/>
              </p:nvSpPr>
              <p:spPr>
                <a:xfrm>
                  <a:off x="2744788" y="3132138"/>
                  <a:ext cx="476250" cy="476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" h="127" extrusionOk="0">
                      <a:moveTo>
                        <a:pt x="108" y="18"/>
                      </a:moveTo>
                      <a:cubicBezTo>
                        <a:pt x="96" y="6"/>
                        <a:pt x="80" y="0"/>
                        <a:pt x="63" y="0"/>
                      </a:cubicBezTo>
                      <a:cubicBezTo>
                        <a:pt x="46" y="0"/>
                        <a:pt x="30" y="6"/>
                        <a:pt x="18" y="19"/>
                      </a:cubicBezTo>
                      <a:cubicBezTo>
                        <a:pt x="6" y="31"/>
                        <a:pt x="0" y="46"/>
                        <a:pt x="0" y="63"/>
                      </a:cubicBezTo>
                      <a:cubicBezTo>
                        <a:pt x="0" y="98"/>
                        <a:pt x="28" y="127"/>
                        <a:pt x="63" y="127"/>
                      </a:cubicBezTo>
                      <a:cubicBezTo>
                        <a:pt x="80" y="127"/>
                        <a:pt x="96" y="120"/>
                        <a:pt x="108" y="108"/>
                      </a:cubicBezTo>
                      <a:cubicBezTo>
                        <a:pt x="120" y="96"/>
                        <a:pt x="127" y="80"/>
                        <a:pt x="127" y="63"/>
                      </a:cubicBezTo>
                      <a:cubicBezTo>
                        <a:pt x="127" y="46"/>
                        <a:pt x="120" y="30"/>
                        <a:pt x="108" y="18"/>
                      </a:cubicBezTo>
                      <a:close/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93" name="Google Shape;93;p2"/>
                <p:cNvSpPr/>
                <p:nvPr/>
              </p:nvSpPr>
              <p:spPr>
                <a:xfrm>
                  <a:off x="3127375" y="3514726"/>
                  <a:ext cx="74613" cy="74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" h="20" extrusionOk="0">
                      <a:moveTo>
                        <a:pt x="20" y="8"/>
                      </a:moveTo>
                      <a:cubicBezTo>
                        <a:pt x="17" y="6"/>
                        <a:pt x="14" y="3"/>
                        <a:pt x="12" y="0"/>
                      </a:cubicBezTo>
                      <a:cubicBezTo>
                        <a:pt x="10" y="2"/>
                        <a:pt x="8" y="4"/>
                        <a:pt x="6" y="6"/>
                      </a:cubicBezTo>
                      <a:cubicBezTo>
                        <a:pt x="4" y="8"/>
                        <a:pt x="2" y="10"/>
                        <a:pt x="0" y="12"/>
                      </a:cubicBezTo>
                      <a:cubicBezTo>
                        <a:pt x="3" y="14"/>
                        <a:pt x="5" y="17"/>
                        <a:pt x="8" y="20"/>
                      </a:cubicBezTo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94" name="Google Shape;94;p2"/>
                <p:cNvSpPr/>
                <p:nvPr/>
              </p:nvSpPr>
              <p:spPr>
                <a:xfrm>
                  <a:off x="3141663" y="3529013"/>
                  <a:ext cx="285750" cy="284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" h="179" extrusionOk="0">
                      <a:moveTo>
                        <a:pt x="180" y="134"/>
                      </a:moveTo>
                      <a:lnTo>
                        <a:pt x="135" y="179"/>
                      </a:lnTo>
                      <a:lnTo>
                        <a:pt x="0" y="45"/>
                      </a:lnTo>
                      <a:lnTo>
                        <a:pt x="45" y="0"/>
                      </a:lnTo>
                      <a:lnTo>
                        <a:pt x="180" y="134"/>
                      </a:lnTo>
                      <a:close/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95" name="Google Shape;95;p2"/>
                <p:cNvSpPr/>
                <p:nvPr/>
              </p:nvSpPr>
              <p:spPr>
                <a:xfrm>
                  <a:off x="3141663" y="3529013"/>
                  <a:ext cx="93663" cy="936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" h="59" extrusionOk="0">
                      <a:moveTo>
                        <a:pt x="59" y="17"/>
                      </a:moveTo>
                      <a:lnTo>
                        <a:pt x="17" y="59"/>
                      </a:lnTo>
                      <a:lnTo>
                        <a:pt x="0" y="45"/>
                      </a:lnTo>
                      <a:lnTo>
                        <a:pt x="45" y="0"/>
                      </a:lnTo>
                      <a:lnTo>
                        <a:pt x="59" y="17"/>
                      </a:lnTo>
                      <a:close/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96" name="Google Shape;96;p2"/>
                <p:cNvSpPr/>
                <p:nvPr/>
              </p:nvSpPr>
              <p:spPr>
                <a:xfrm>
                  <a:off x="3355975" y="3741738"/>
                  <a:ext cx="85725" cy="873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" h="23" extrusionOk="0">
                      <a:moveTo>
                        <a:pt x="23" y="5"/>
                      </a:moveTo>
                      <a:cubicBezTo>
                        <a:pt x="23" y="15"/>
                        <a:pt x="15" y="23"/>
                        <a:pt x="5" y="23"/>
                      </a:cubicBezTo>
                      <a:cubicBezTo>
                        <a:pt x="3" y="22"/>
                        <a:pt x="2" y="20"/>
                        <a:pt x="0" y="19"/>
                      </a:cubicBezTo>
                      <a:cubicBezTo>
                        <a:pt x="7" y="13"/>
                        <a:pt x="13" y="7"/>
                        <a:pt x="19" y="0"/>
                      </a:cubicBezTo>
                      <a:cubicBezTo>
                        <a:pt x="20" y="2"/>
                        <a:pt x="22" y="3"/>
                        <a:pt x="23" y="5"/>
                      </a:cubicBezTo>
                      <a:close/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97" name="Google Shape;97;p2"/>
                <p:cNvSpPr/>
                <p:nvPr/>
              </p:nvSpPr>
              <p:spPr>
                <a:xfrm>
                  <a:off x="2801938" y="3189288"/>
                  <a:ext cx="361950" cy="3619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" h="97" extrusionOk="0">
                      <a:moveTo>
                        <a:pt x="83" y="82"/>
                      </a:moveTo>
                      <a:cubicBezTo>
                        <a:pt x="73" y="92"/>
                        <a:pt x="61" y="97"/>
                        <a:pt x="48" y="97"/>
                      </a:cubicBezTo>
                      <a:cubicBezTo>
                        <a:pt x="22" y="97"/>
                        <a:pt x="0" y="75"/>
                        <a:pt x="0" y="48"/>
                      </a:cubicBezTo>
                      <a:cubicBezTo>
                        <a:pt x="0" y="36"/>
                        <a:pt x="5" y="23"/>
                        <a:pt x="14" y="14"/>
                      </a:cubicBezTo>
                      <a:cubicBezTo>
                        <a:pt x="23" y="5"/>
                        <a:pt x="35" y="0"/>
                        <a:pt x="48" y="0"/>
                      </a:cubicBezTo>
                      <a:cubicBezTo>
                        <a:pt x="61" y="0"/>
                        <a:pt x="73" y="5"/>
                        <a:pt x="82" y="14"/>
                      </a:cubicBezTo>
                      <a:cubicBezTo>
                        <a:pt x="92" y="23"/>
                        <a:pt x="97" y="35"/>
                        <a:pt x="97" y="48"/>
                      </a:cubicBezTo>
                      <a:cubicBezTo>
                        <a:pt x="97" y="61"/>
                        <a:pt x="92" y="73"/>
                        <a:pt x="83" y="82"/>
                      </a:cubicBezTo>
                      <a:close/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98" name="Google Shape;98;p2"/>
                <p:cNvSpPr/>
                <p:nvPr/>
              </p:nvSpPr>
              <p:spPr>
                <a:xfrm>
                  <a:off x="2801938" y="3189288"/>
                  <a:ext cx="361950" cy="3619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" h="97" extrusionOk="0">
                      <a:moveTo>
                        <a:pt x="83" y="82"/>
                      </a:moveTo>
                      <a:cubicBezTo>
                        <a:pt x="73" y="92"/>
                        <a:pt x="61" y="97"/>
                        <a:pt x="48" y="97"/>
                      </a:cubicBezTo>
                      <a:cubicBezTo>
                        <a:pt x="22" y="97"/>
                        <a:pt x="0" y="75"/>
                        <a:pt x="0" y="48"/>
                      </a:cubicBezTo>
                      <a:cubicBezTo>
                        <a:pt x="0" y="36"/>
                        <a:pt x="5" y="23"/>
                        <a:pt x="14" y="14"/>
                      </a:cubicBezTo>
                      <a:cubicBezTo>
                        <a:pt x="23" y="5"/>
                        <a:pt x="35" y="0"/>
                        <a:pt x="48" y="0"/>
                      </a:cubicBezTo>
                      <a:cubicBezTo>
                        <a:pt x="61" y="0"/>
                        <a:pt x="73" y="5"/>
                        <a:pt x="82" y="14"/>
                      </a:cubicBezTo>
                      <a:cubicBezTo>
                        <a:pt x="92" y="23"/>
                        <a:pt x="97" y="35"/>
                        <a:pt x="97" y="48"/>
                      </a:cubicBezTo>
                      <a:cubicBezTo>
                        <a:pt x="97" y="61"/>
                        <a:pt x="92" y="73"/>
                        <a:pt x="83" y="82"/>
                      </a:cubicBezTo>
                      <a:close/>
                    </a:path>
                  </a:pathLst>
                </a:cu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71BF3D8-3E6D-16C5-2D63-7AA714A1BAE0}"/>
              </a:ext>
            </a:extLst>
          </p:cNvPr>
          <p:cNvGrpSpPr/>
          <p:nvPr/>
        </p:nvGrpSpPr>
        <p:grpSpPr>
          <a:xfrm>
            <a:off x="3952786" y="3847722"/>
            <a:ext cx="4506981" cy="615553"/>
            <a:chOff x="3952786" y="3847722"/>
            <a:chExt cx="4506981" cy="615553"/>
          </a:xfrm>
        </p:grpSpPr>
        <p:sp>
          <p:nvSpPr>
            <p:cNvPr id="100" name="Google Shape;100;p2"/>
            <p:cNvSpPr txBox="1"/>
            <p:nvPr/>
          </p:nvSpPr>
          <p:spPr>
            <a:xfrm>
              <a:off x="4614216" y="3847722"/>
              <a:ext cx="3845551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How can we turn this into a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useful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application?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02;p2"/>
            <p:cNvSpPr/>
            <p:nvPr/>
          </p:nvSpPr>
          <p:spPr>
            <a:xfrm>
              <a:off x="3952786" y="3847722"/>
              <a:ext cx="549711" cy="54971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endPara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3" name="Google Shape;103;p2"/>
            <p:cNvGrpSpPr/>
            <p:nvPr/>
          </p:nvGrpSpPr>
          <p:grpSpPr>
            <a:xfrm>
              <a:off x="4084239" y="3947762"/>
              <a:ext cx="337605" cy="349630"/>
              <a:chOff x="5686425" y="1493838"/>
              <a:chExt cx="579438" cy="600076"/>
            </a:xfrm>
          </p:grpSpPr>
          <p:sp>
            <p:nvSpPr>
              <p:cNvPr id="104" name="Google Shape;104;p2"/>
              <p:cNvSpPr/>
              <p:nvPr/>
            </p:nvSpPr>
            <p:spPr>
              <a:xfrm>
                <a:off x="5686425" y="1558926"/>
                <a:ext cx="469900" cy="534988"/>
              </a:xfrm>
              <a:custGeom>
                <a:avLst/>
                <a:gdLst/>
                <a:ahLst/>
                <a:cxnLst/>
                <a:rect l="l" t="t" r="r" b="b"/>
                <a:pathLst>
                  <a:path w="144" h="164" extrusionOk="0">
                    <a:moveTo>
                      <a:pt x="144" y="108"/>
                    </a:moveTo>
                    <a:cubicBezTo>
                      <a:pt x="144" y="156"/>
                      <a:pt x="144" y="156"/>
                      <a:pt x="144" y="156"/>
                    </a:cubicBezTo>
                    <a:cubicBezTo>
                      <a:pt x="144" y="160"/>
                      <a:pt x="140" y="164"/>
                      <a:pt x="136" y="16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4" y="164"/>
                      <a:pt x="0" y="160"/>
                      <a:pt x="0" y="15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24" y="0"/>
                      <a:pt x="24" y="0"/>
                      <a:pt x="24" y="0"/>
                    </a:cubicBez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" name="Google Shape;105;p2"/>
              <p:cNvSpPr/>
              <p:nvPr/>
            </p:nvSpPr>
            <p:spPr>
              <a:xfrm>
                <a:off x="6076950" y="1558926"/>
                <a:ext cx="79375" cy="144463"/>
              </a:xfrm>
              <a:custGeom>
                <a:avLst/>
                <a:gdLst/>
                <a:ahLst/>
                <a:cxnLst/>
                <a:rect l="l" t="t" r="r" b="b"/>
                <a:pathLst>
                  <a:path w="24" h="44" extrusionOk="0">
                    <a:moveTo>
                      <a:pt x="0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20" y="0"/>
                      <a:pt x="24" y="4"/>
                      <a:pt x="24" y="8"/>
                    </a:cubicBezTo>
                    <a:cubicBezTo>
                      <a:pt x="24" y="44"/>
                      <a:pt x="24" y="44"/>
                      <a:pt x="24" y="44"/>
                    </a:cubicBez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" name="Google Shape;106;p2"/>
              <p:cNvSpPr/>
              <p:nvPr/>
            </p:nvSpPr>
            <p:spPr>
              <a:xfrm>
                <a:off x="5738812" y="1611313"/>
                <a:ext cx="365125" cy="431800"/>
              </a:xfrm>
              <a:custGeom>
                <a:avLst/>
                <a:gdLst/>
                <a:ahLst/>
                <a:cxnLst/>
                <a:rect l="l" t="t" r="r" b="b"/>
                <a:pathLst>
                  <a:path w="230" h="272" extrusionOk="0">
                    <a:moveTo>
                      <a:pt x="230" y="222"/>
                    </a:moveTo>
                    <a:lnTo>
                      <a:pt x="230" y="272"/>
                    </a:lnTo>
                    <a:lnTo>
                      <a:pt x="0" y="272"/>
                    </a:lnTo>
                    <a:lnTo>
                      <a:pt x="0" y="0"/>
                    </a:lnTo>
                    <a:lnTo>
                      <a:pt x="16" y="0"/>
                    </a:ln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" name="Google Shape;107;p2"/>
              <p:cNvSpPr/>
              <p:nvPr/>
            </p:nvSpPr>
            <p:spPr>
              <a:xfrm>
                <a:off x="6076950" y="1611313"/>
                <a:ext cx="26988" cy="144463"/>
              </a:xfrm>
              <a:custGeom>
                <a:avLst/>
                <a:gdLst/>
                <a:ahLst/>
                <a:cxnLst/>
                <a:rect l="l" t="t" r="r" b="b"/>
                <a:pathLst>
                  <a:path w="17" h="91" extrusionOk="0">
                    <a:moveTo>
                      <a:pt x="0" y="0"/>
                    </a:moveTo>
                    <a:lnTo>
                      <a:pt x="17" y="0"/>
                    </a:lnTo>
                    <a:lnTo>
                      <a:pt x="17" y="91"/>
                    </a:ln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" name="Google Shape;108;p2"/>
              <p:cNvSpPr/>
              <p:nvPr/>
            </p:nvSpPr>
            <p:spPr>
              <a:xfrm>
                <a:off x="5789613" y="1493838"/>
                <a:ext cx="261938" cy="130175"/>
              </a:xfrm>
              <a:custGeom>
                <a:avLst/>
                <a:gdLst/>
                <a:ahLst/>
                <a:cxnLst/>
                <a:rect l="l" t="t" r="r" b="b"/>
                <a:pathLst>
                  <a:path w="80" h="40" extrusionOk="0">
                    <a:moveTo>
                      <a:pt x="68" y="16"/>
                    </a:move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7"/>
                      <a:pt x="49" y="0"/>
                      <a:pt x="40" y="0"/>
                    </a:cubicBezTo>
                    <a:cubicBezTo>
                      <a:pt x="31" y="0"/>
                      <a:pt x="24" y="7"/>
                      <a:pt x="24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5" y="16"/>
                      <a:pt x="0" y="21"/>
                      <a:pt x="0" y="2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80" y="28"/>
                      <a:pt x="80" y="28"/>
                      <a:pt x="80" y="28"/>
                    </a:cubicBezTo>
                    <a:cubicBezTo>
                      <a:pt x="80" y="21"/>
                      <a:pt x="75" y="16"/>
                      <a:pt x="68" y="16"/>
                    </a:cubicBezTo>
                    <a:close/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09" name="Google Shape;109;p2"/>
              <p:cNvCxnSpPr/>
              <p:nvPr/>
            </p:nvCxnSpPr>
            <p:spPr>
              <a:xfrm>
                <a:off x="5921375" y="1533526"/>
                <a:ext cx="0" cy="2540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110" name="Google Shape;110;p2"/>
              <p:cNvSpPr/>
              <p:nvPr/>
            </p:nvSpPr>
            <p:spPr>
              <a:xfrm>
                <a:off x="5983288" y="1697038"/>
                <a:ext cx="282575" cy="284163"/>
              </a:xfrm>
              <a:custGeom>
                <a:avLst/>
                <a:gdLst/>
                <a:ahLst/>
                <a:cxnLst/>
                <a:rect l="l" t="t" r="r" b="b"/>
                <a:pathLst>
                  <a:path w="87" h="87" extrusionOk="0">
                    <a:moveTo>
                      <a:pt x="82" y="5"/>
                    </a:moveTo>
                    <a:cubicBezTo>
                      <a:pt x="87" y="9"/>
                      <a:pt x="87" y="13"/>
                      <a:pt x="87" y="15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15" y="87"/>
                      <a:pt x="1" y="86"/>
                      <a:pt x="1" y="86"/>
                    </a:cubicBezTo>
                    <a:cubicBezTo>
                      <a:pt x="1" y="86"/>
                      <a:pt x="0" y="72"/>
                      <a:pt x="10" y="62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4" y="0"/>
                      <a:pt x="78" y="1"/>
                      <a:pt x="82" y="5"/>
                    </a:cubicBezTo>
                    <a:close/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11" name="Google Shape;111;p2"/>
              <p:cNvCxnSpPr/>
              <p:nvPr/>
            </p:nvCxnSpPr>
            <p:spPr>
              <a:xfrm>
                <a:off x="6188075" y="1722438"/>
                <a:ext cx="49213" cy="52388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12" name="Google Shape;112;p2"/>
              <p:cNvCxnSpPr/>
              <p:nvPr/>
            </p:nvCxnSpPr>
            <p:spPr>
              <a:xfrm>
                <a:off x="6011863" y="1898651"/>
                <a:ext cx="52388" cy="52388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113" name="Google Shape;113;p2"/>
              <p:cNvCxnSpPr/>
              <p:nvPr/>
            </p:nvCxnSpPr>
            <p:spPr>
              <a:xfrm>
                <a:off x="5921375" y="1690688"/>
                <a:ext cx="117475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14" name="Google Shape;114;p2"/>
              <p:cNvSpPr/>
              <p:nvPr/>
            </p:nvSpPr>
            <p:spPr>
              <a:xfrm>
                <a:off x="5803900" y="1676401"/>
                <a:ext cx="77788" cy="65088"/>
              </a:xfrm>
              <a:custGeom>
                <a:avLst/>
                <a:gdLst/>
                <a:ahLst/>
                <a:cxnLst/>
                <a:rect l="l" t="t" r="r" b="b"/>
                <a:pathLst>
                  <a:path w="49" h="41" extrusionOk="0">
                    <a:moveTo>
                      <a:pt x="49" y="0"/>
                    </a:moveTo>
                    <a:lnTo>
                      <a:pt x="16" y="41"/>
                    </a:lnTo>
                    <a:lnTo>
                      <a:pt x="0" y="17"/>
                    </a:ln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15" name="Google Shape;115;p2"/>
              <p:cNvCxnSpPr/>
              <p:nvPr/>
            </p:nvCxnSpPr>
            <p:spPr>
              <a:xfrm>
                <a:off x="5921375" y="1808163"/>
                <a:ext cx="117475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6" name="Google Shape;116;p2"/>
              <p:cNvCxnSpPr/>
              <p:nvPr/>
            </p:nvCxnSpPr>
            <p:spPr>
              <a:xfrm>
                <a:off x="5921375" y="1741488"/>
                <a:ext cx="90488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17" name="Google Shape;117;p2"/>
              <p:cNvCxnSpPr/>
              <p:nvPr/>
            </p:nvCxnSpPr>
            <p:spPr>
              <a:xfrm>
                <a:off x="5921375" y="1858963"/>
                <a:ext cx="77788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118" name="Google Shape;118;p2"/>
              <p:cNvSpPr/>
              <p:nvPr/>
            </p:nvSpPr>
            <p:spPr>
              <a:xfrm>
                <a:off x="5803900" y="1793876"/>
                <a:ext cx="77788" cy="65088"/>
              </a:xfrm>
              <a:custGeom>
                <a:avLst/>
                <a:gdLst/>
                <a:ahLst/>
                <a:cxnLst/>
                <a:rect l="l" t="t" r="r" b="b"/>
                <a:pathLst>
                  <a:path w="49" h="41" extrusionOk="0">
                    <a:moveTo>
                      <a:pt x="49" y="0"/>
                    </a:moveTo>
                    <a:lnTo>
                      <a:pt x="16" y="41"/>
                    </a:lnTo>
                    <a:lnTo>
                      <a:pt x="0" y="17"/>
                    </a:ln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" name="Google Shape;119;p2"/>
              <p:cNvSpPr/>
              <p:nvPr/>
            </p:nvSpPr>
            <p:spPr>
              <a:xfrm>
                <a:off x="5803900" y="1911351"/>
                <a:ext cx="77788" cy="65088"/>
              </a:xfrm>
              <a:custGeom>
                <a:avLst/>
                <a:gdLst/>
                <a:ahLst/>
                <a:cxnLst/>
                <a:rect l="l" t="t" r="r" b="b"/>
                <a:pathLst>
                  <a:path w="49" h="41" extrusionOk="0">
                    <a:moveTo>
                      <a:pt x="49" y="0"/>
                    </a:moveTo>
                    <a:lnTo>
                      <a:pt x="16" y="41"/>
                    </a:lnTo>
                    <a:lnTo>
                      <a:pt x="0" y="17"/>
                    </a:lnTo>
                  </a:path>
                </a:pathLst>
              </a:cu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20" name="Google Shape;120;p2"/>
          <p:cNvGrpSpPr/>
          <p:nvPr/>
        </p:nvGrpSpPr>
        <p:grpSpPr>
          <a:xfrm>
            <a:off x="3953947" y="2495137"/>
            <a:ext cx="4505820" cy="923330"/>
            <a:chOff x="3953154" y="2357965"/>
            <a:chExt cx="4505820" cy="923330"/>
          </a:xfrm>
        </p:grpSpPr>
        <p:sp>
          <p:nvSpPr>
            <p:cNvPr id="121" name="Google Shape;121;p2"/>
            <p:cNvSpPr txBox="1"/>
            <p:nvPr/>
          </p:nvSpPr>
          <p:spPr>
            <a:xfrm>
              <a:off x="4613423" y="2357965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Reads in Shakespeare and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generates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its own text with the author’s trademark way of writing</a:t>
              </a:r>
              <a:endParaRPr lang="en-US"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22" name="Google Shape;122;p2"/>
            <p:cNvGrpSpPr/>
            <p:nvPr/>
          </p:nvGrpSpPr>
          <p:grpSpPr>
            <a:xfrm>
              <a:off x="3953154" y="2357965"/>
              <a:ext cx="549711" cy="549711"/>
              <a:chOff x="2325533" y="4023496"/>
              <a:chExt cx="549711" cy="549711"/>
            </a:xfrm>
          </p:grpSpPr>
          <p:sp>
            <p:nvSpPr>
              <p:cNvPr id="123" name="Google Shape;123;p2"/>
              <p:cNvSpPr/>
              <p:nvPr/>
            </p:nvSpPr>
            <p:spPr>
              <a:xfrm>
                <a:off x="2325533" y="4023496"/>
                <a:ext cx="549711" cy="54971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24" name="Google Shape;124;p2"/>
              <p:cNvGrpSpPr/>
              <p:nvPr/>
            </p:nvGrpSpPr>
            <p:grpSpPr>
              <a:xfrm>
                <a:off x="2442581" y="4181711"/>
                <a:ext cx="315614" cy="233280"/>
                <a:chOff x="506757" y="2830043"/>
                <a:chExt cx="401638" cy="296863"/>
              </a:xfrm>
            </p:grpSpPr>
            <p:cxnSp>
              <p:nvCxnSpPr>
                <p:cNvPr id="125" name="Google Shape;125;p2"/>
                <p:cNvCxnSpPr/>
                <p:nvPr/>
              </p:nvCxnSpPr>
              <p:spPr>
                <a:xfrm>
                  <a:off x="856007" y="2830043"/>
                  <a:ext cx="52388" cy="52388"/>
                </a:xfrm>
                <a:prstGeom prst="straightConnector1">
                  <a:avLst/>
                </a:pr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26" name="Google Shape;126;p2"/>
                <p:cNvCxnSpPr/>
                <p:nvPr/>
              </p:nvCxnSpPr>
              <p:spPr>
                <a:xfrm rot="10800000" flipH="1">
                  <a:off x="856007" y="2882430"/>
                  <a:ext cx="52388" cy="52388"/>
                </a:xfrm>
                <a:prstGeom prst="straightConnector1">
                  <a:avLst/>
                </a:pr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27" name="Google Shape;127;p2"/>
                <p:cNvCxnSpPr/>
                <p:nvPr/>
              </p:nvCxnSpPr>
              <p:spPr>
                <a:xfrm>
                  <a:off x="856007" y="3022130"/>
                  <a:ext cx="52388" cy="52388"/>
                </a:xfrm>
                <a:prstGeom prst="straightConnector1">
                  <a:avLst/>
                </a:pr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28" name="Google Shape;128;p2"/>
                <p:cNvCxnSpPr/>
                <p:nvPr/>
              </p:nvCxnSpPr>
              <p:spPr>
                <a:xfrm rot="10800000" flipH="1">
                  <a:off x="856007" y="3074518"/>
                  <a:ext cx="52388" cy="52388"/>
                </a:xfrm>
                <a:prstGeom prst="straightConnector1">
                  <a:avLst/>
                </a:pr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sp>
              <p:nvSpPr>
                <p:cNvPr id="129" name="Google Shape;129;p2"/>
                <p:cNvSpPr/>
                <p:nvPr/>
              </p:nvSpPr>
              <p:spPr>
                <a:xfrm>
                  <a:off x="506757" y="2882430"/>
                  <a:ext cx="401638" cy="1920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" h="44" extrusionOk="0">
                      <a:moveTo>
                        <a:pt x="92" y="44"/>
                      </a:moveTo>
                      <a:cubicBezTo>
                        <a:pt x="75" y="44"/>
                        <a:pt x="75" y="44"/>
                        <a:pt x="75" y="44"/>
                      </a:cubicBezTo>
                      <a:cubicBezTo>
                        <a:pt x="70" y="44"/>
                        <a:pt x="66" y="42"/>
                        <a:pt x="63" y="39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26" y="2"/>
                        <a:pt x="22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0" name="Google Shape;130;p2"/>
                <p:cNvSpPr/>
                <p:nvPr/>
              </p:nvSpPr>
              <p:spPr>
                <a:xfrm>
                  <a:off x="506757" y="3004668"/>
                  <a:ext cx="174625" cy="698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" h="16" extrusionOk="0">
                      <a:moveTo>
                        <a:pt x="0" y="16"/>
                      </a:moveTo>
                      <a:cubicBezTo>
                        <a:pt x="17" y="16"/>
                        <a:pt x="17" y="16"/>
                        <a:pt x="17" y="16"/>
                      </a:cubicBezTo>
                      <a:cubicBezTo>
                        <a:pt x="22" y="16"/>
                        <a:pt x="26" y="14"/>
                        <a:pt x="29" y="11"/>
                      </a:cubicBezTo>
                      <a:cubicBezTo>
                        <a:pt x="40" y="0"/>
                        <a:pt x="40" y="0"/>
                        <a:pt x="40" y="0"/>
                      </a:cubicBezTo>
                    </a:path>
                  </a:pathLst>
                </a:cu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31" name="Google Shape;131;p2"/>
                <p:cNvSpPr/>
                <p:nvPr/>
              </p:nvSpPr>
              <p:spPr>
                <a:xfrm>
                  <a:off x="733770" y="2882430"/>
                  <a:ext cx="174625" cy="698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" h="16" extrusionOk="0">
                      <a:moveTo>
                        <a:pt x="0" y="16"/>
                      </a:move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4" y="2"/>
                        <a:pt x="18" y="0"/>
                        <a:pt x="23" y="0"/>
                      </a:cubicBezTo>
                      <a:cubicBezTo>
                        <a:pt x="40" y="0"/>
                        <a:pt x="40" y="0"/>
                        <a:pt x="40" y="0"/>
                      </a:cubicBezTo>
                    </a:path>
                  </a:pathLst>
                </a:custGeom>
                <a:noFill/>
                <a:ln w="12700" cap="rnd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2000"/>
                    <a:buFont typeface="Arial"/>
                    <a:buNone/>
                  </a:pPr>
                  <a:endParaRPr sz="20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pic>
        <p:nvPicPr>
          <p:cNvPr id="4" name="Graphic 3" descr="Thumbs up sign">
            <a:extLst>
              <a:ext uri="{FF2B5EF4-FFF2-40B4-BE49-F238E27FC236}">
                <a16:creationId xmlns:a16="http://schemas.microsoft.com/office/drawing/2014/main" id="{02F04A83-9C94-5F2A-F878-2DCF8ACB6C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0688" y="3419619"/>
            <a:ext cx="1440744" cy="144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202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2"/>
          <p:cNvSpPr txBox="1"/>
          <p:nvPr/>
        </p:nvSpPr>
        <p:spPr>
          <a:xfrm>
            <a:off x="535841" y="1266990"/>
            <a:ext cx="257190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Goal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F5F626E-CCF0-F733-A7B0-1C9CABC2A3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28106" y="3378349"/>
            <a:ext cx="1541177" cy="154117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5ADD7F0-5F01-BE6F-7D81-74A4A6822792}"/>
              </a:ext>
            </a:extLst>
          </p:cNvPr>
          <p:cNvGrpSpPr/>
          <p:nvPr/>
        </p:nvGrpSpPr>
        <p:grpSpPr>
          <a:xfrm>
            <a:off x="3953366" y="1234884"/>
            <a:ext cx="4505820" cy="923330"/>
            <a:chOff x="3953947" y="1234884"/>
            <a:chExt cx="4505820" cy="923330"/>
          </a:xfrm>
        </p:grpSpPr>
        <p:sp>
          <p:nvSpPr>
            <p:cNvPr id="87" name="Google Shape;87;p2"/>
            <p:cNvSpPr txBox="1"/>
            <p:nvPr/>
          </p:nvSpPr>
          <p:spPr>
            <a:xfrm>
              <a:off x="4614216" y="1234884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dirty="0">
                  <a:solidFill>
                    <a:schemeClr val="dk2"/>
                  </a:solidFill>
                </a:rPr>
                <a:t>C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reate a neural language model that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trains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on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Python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text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data and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generates</a:t>
              </a: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 Python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scripts</a:t>
              </a:r>
              <a:endParaRPr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89;p2"/>
            <p:cNvSpPr/>
            <p:nvPr/>
          </p:nvSpPr>
          <p:spPr>
            <a:xfrm>
              <a:off x="3953947" y="1234884"/>
              <a:ext cx="549711" cy="54971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endPara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" name="Graphic 6" descr="Hammer">
              <a:extLst>
                <a:ext uri="{FF2B5EF4-FFF2-40B4-BE49-F238E27FC236}">
                  <a16:creationId xmlns:a16="http://schemas.microsoft.com/office/drawing/2014/main" id="{EB49CA96-01F4-A7DA-391C-EC85849CB0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38269" y="1314144"/>
              <a:ext cx="395029" cy="395029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20A47DD-C16C-478A-32DA-45BAE70F1AEB}"/>
              </a:ext>
            </a:extLst>
          </p:cNvPr>
          <p:cNvGrpSpPr/>
          <p:nvPr/>
        </p:nvGrpSpPr>
        <p:grpSpPr>
          <a:xfrm>
            <a:off x="3953366" y="2495137"/>
            <a:ext cx="4505820" cy="923330"/>
            <a:chOff x="3953947" y="2495137"/>
            <a:chExt cx="4505820" cy="923330"/>
          </a:xfrm>
        </p:grpSpPr>
        <p:sp>
          <p:nvSpPr>
            <p:cNvPr id="121" name="Google Shape;121;p2"/>
            <p:cNvSpPr txBox="1"/>
            <p:nvPr/>
          </p:nvSpPr>
          <p:spPr>
            <a:xfrm>
              <a:off x="4614216" y="2495137"/>
              <a:ext cx="3845551" cy="923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b="0" i="0" u="none" strike="noStrike" cap="none" dirty="0">
                  <a:solidFill>
                    <a:schemeClr val="dk2"/>
                  </a:solidFill>
                  <a:latin typeface="Arial"/>
                  <a:ea typeface="Arial"/>
                  <a:cs typeface="Arial"/>
                  <a:sym typeface="Arial"/>
                </a:rPr>
                <a:t>Prompt the model with a task and have it generate the code that </a:t>
              </a:r>
              <a:r>
                <a:rPr lang="en-US" sz="2000" b="1" i="0" u="none" strike="noStrike" cap="none" dirty="0">
                  <a:solidFill>
                    <a:schemeClr val="tx1"/>
                  </a:solidFill>
                  <a:latin typeface="Arial"/>
                  <a:ea typeface="Arial"/>
                  <a:cs typeface="Arial"/>
                  <a:sym typeface="Arial"/>
                </a:rPr>
                <a:t>solves the task</a:t>
              </a:r>
              <a:endParaRPr lang="en-US" sz="1400" b="1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123;p2"/>
            <p:cNvSpPr/>
            <p:nvPr/>
          </p:nvSpPr>
          <p:spPr>
            <a:xfrm>
              <a:off x="3953947" y="2495137"/>
              <a:ext cx="549711" cy="54971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endPara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" name="Graphic 9" descr="Artist">
              <a:extLst>
                <a:ext uri="{FF2B5EF4-FFF2-40B4-BE49-F238E27FC236}">
                  <a16:creationId xmlns:a16="http://schemas.microsoft.com/office/drawing/2014/main" id="{A7992B42-9998-1EFB-0F3B-447390EF0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86651" y="2512047"/>
              <a:ext cx="506024" cy="506024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16AE3A6-175A-8D31-1700-3DD398559850}"/>
              </a:ext>
            </a:extLst>
          </p:cNvPr>
          <p:cNvGrpSpPr/>
          <p:nvPr/>
        </p:nvGrpSpPr>
        <p:grpSpPr>
          <a:xfrm>
            <a:off x="3952786" y="3820426"/>
            <a:ext cx="4506981" cy="615553"/>
            <a:chOff x="3952786" y="3820426"/>
            <a:chExt cx="4506981" cy="615553"/>
          </a:xfrm>
        </p:grpSpPr>
        <p:sp>
          <p:nvSpPr>
            <p:cNvPr id="100" name="Google Shape;100;p2"/>
            <p:cNvSpPr txBox="1"/>
            <p:nvPr/>
          </p:nvSpPr>
          <p:spPr>
            <a:xfrm>
              <a:off x="4614216" y="3820426"/>
              <a:ext cx="3845551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000" dirty="0">
                  <a:solidFill>
                    <a:schemeClr val="dk2"/>
                  </a:solidFill>
                </a:rPr>
                <a:t>Get </a:t>
              </a:r>
              <a:r>
                <a:rPr lang="en-US" sz="2000" b="1" dirty="0">
                  <a:solidFill>
                    <a:schemeClr val="tx1"/>
                  </a:solidFill>
                </a:rPr>
                <a:t>working results </a:t>
              </a:r>
              <a:r>
                <a:rPr lang="en-US" sz="2000" dirty="0">
                  <a:solidFill>
                    <a:schemeClr val="dk2"/>
                  </a:solidFill>
                </a:rPr>
                <a:t>for our code generation solution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102;p2"/>
            <p:cNvSpPr/>
            <p:nvPr/>
          </p:nvSpPr>
          <p:spPr>
            <a:xfrm>
              <a:off x="3952786" y="3847722"/>
              <a:ext cx="549711" cy="54971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</a:pPr>
              <a:endPara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Graphic 13" descr="Bullseye">
              <a:extLst>
                <a:ext uri="{FF2B5EF4-FFF2-40B4-BE49-F238E27FC236}">
                  <a16:creationId xmlns:a16="http://schemas.microsoft.com/office/drawing/2014/main" id="{95364FBE-6014-6A05-37BD-4EC2E8CEB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97395" y="3878190"/>
              <a:ext cx="490495" cy="490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52402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0A176D34-717E-4755-8F96-D079B8EBB078}"/>
              </a:ext>
            </a:extLst>
          </p:cNvPr>
          <p:cNvSpPr>
            <a:spLocks noChangeAspect="1"/>
          </p:cNvSpPr>
          <p:nvPr/>
        </p:nvSpPr>
        <p:spPr>
          <a:xfrm>
            <a:off x="4642038" y="2490592"/>
            <a:ext cx="780839" cy="78083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itchFamily="2" charset="-52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BDE4D8BB-0E59-4409-8D57-23712C81A771}"/>
              </a:ext>
            </a:extLst>
          </p:cNvPr>
          <p:cNvSpPr>
            <a:spLocks noChangeAspect="1"/>
          </p:cNvSpPr>
          <p:nvPr/>
        </p:nvSpPr>
        <p:spPr>
          <a:xfrm>
            <a:off x="4642038" y="1458512"/>
            <a:ext cx="780839" cy="78083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itchFamily="2" charset="-52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5E00D8B-2A48-4FB7-99B1-F83EC9C232FF}"/>
              </a:ext>
            </a:extLst>
          </p:cNvPr>
          <p:cNvSpPr>
            <a:spLocks noChangeAspect="1"/>
          </p:cNvSpPr>
          <p:nvPr/>
        </p:nvSpPr>
        <p:spPr>
          <a:xfrm>
            <a:off x="452387" y="1458512"/>
            <a:ext cx="780839" cy="780839"/>
          </a:xfrm>
          <a:prstGeom prst="ellipse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itchFamily="2" charset="-52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DBB3E77-CFCB-4B51-801A-2C0988CDC9EC}"/>
              </a:ext>
            </a:extLst>
          </p:cNvPr>
          <p:cNvSpPr>
            <a:spLocks noChangeAspect="1"/>
          </p:cNvSpPr>
          <p:nvPr/>
        </p:nvSpPr>
        <p:spPr>
          <a:xfrm>
            <a:off x="452387" y="2490592"/>
            <a:ext cx="780839" cy="780839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itchFamily="2" charset="-52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Raleway" pitchFamily="2" charset="-52"/>
              </a:rPr>
              <a:t>Use cas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29D2E95-FF3D-4022-AE7B-C46A17B94BDB}"/>
              </a:ext>
            </a:extLst>
          </p:cNvPr>
          <p:cNvSpPr>
            <a:spLocks noChangeAspect="1"/>
          </p:cNvSpPr>
          <p:nvPr/>
        </p:nvSpPr>
        <p:spPr>
          <a:xfrm>
            <a:off x="452387" y="3522672"/>
            <a:ext cx="780839" cy="780839"/>
          </a:xfrm>
          <a:prstGeom prst="ellipse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itchFamily="2" charset="-52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93FAD4A1-D0FD-4B32-9655-E3D11B7D4694}"/>
              </a:ext>
            </a:extLst>
          </p:cNvPr>
          <p:cNvSpPr>
            <a:spLocks noChangeAspect="1"/>
          </p:cNvSpPr>
          <p:nvPr/>
        </p:nvSpPr>
        <p:spPr>
          <a:xfrm>
            <a:off x="4642038" y="3522672"/>
            <a:ext cx="780839" cy="780839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leway" pitchFamily="2" charset="-52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79B07C0-FE13-42B3-95D0-FBE4BAE87C58}"/>
              </a:ext>
            </a:extLst>
          </p:cNvPr>
          <p:cNvSpPr txBox="1">
            <a:spLocks/>
          </p:cNvSpPr>
          <p:nvPr/>
        </p:nvSpPr>
        <p:spPr>
          <a:xfrm>
            <a:off x="1402178" y="1695043"/>
            <a:ext cx="303647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aleway" pitchFamily="2" charset="-52"/>
                <a:ea typeface="+mn-ea"/>
              </a:rPr>
              <a:t>Code translatio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EB7D035-95A1-408F-92C3-23D0F37DDEB7}"/>
              </a:ext>
            </a:extLst>
          </p:cNvPr>
          <p:cNvSpPr txBox="1">
            <a:spLocks/>
          </p:cNvSpPr>
          <p:nvPr/>
        </p:nvSpPr>
        <p:spPr>
          <a:xfrm>
            <a:off x="1402178" y="2573235"/>
            <a:ext cx="3036472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aleway" pitchFamily="2" charset="-52"/>
                <a:ea typeface="+mn-ea"/>
              </a:rPr>
              <a:t>Learning tool for beginner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86C6AFC-C672-420B-8D0C-9C8BAE30211B}"/>
              </a:ext>
            </a:extLst>
          </p:cNvPr>
          <p:cNvSpPr txBox="1">
            <a:spLocks/>
          </p:cNvSpPr>
          <p:nvPr/>
        </p:nvSpPr>
        <p:spPr>
          <a:xfrm>
            <a:off x="1402178" y="3759203"/>
            <a:ext cx="303647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aleway" pitchFamily="2" charset="-52"/>
                <a:ea typeface="+mn-ea"/>
              </a:rPr>
              <a:t>Improving quality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BAD43AB-F7C6-4AAE-921B-C7BBF3BA1368}"/>
              </a:ext>
            </a:extLst>
          </p:cNvPr>
          <p:cNvSpPr txBox="1">
            <a:spLocks/>
          </p:cNvSpPr>
          <p:nvPr/>
        </p:nvSpPr>
        <p:spPr>
          <a:xfrm>
            <a:off x="5626265" y="1695043"/>
            <a:ext cx="303647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aleway" pitchFamily="2" charset="-52"/>
                <a:ea typeface="+mn-ea"/>
              </a:rPr>
              <a:t>Coding in new languag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6593C27-D86B-4A04-A127-31AD036150FA}"/>
              </a:ext>
            </a:extLst>
          </p:cNvPr>
          <p:cNvSpPr txBox="1">
            <a:spLocks/>
          </p:cNvSpPr>
          <p:nvPr/>
        </p:nvSpPr>
        <p:spPr>
          <a:xfrm>
            <a:off x="5626265" y="2573235"/>
            <a:ext cx="3036472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b="1" kern="1200" dirty="0">
                <a:solidFill>
                  <a:schemeClr val="bg2"/>
                </a:solidFill>
                <a:latin typeface="Raleway" pitchFamily="2" charset="-52"/>
                <a:ea typeface="+mn-ea"/>
              </a:rPr>
              <a:t>Conforming to coding ru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Raleway" pitchFamily="2" charset="-52"/>
              <a:ea typeface="+mn-ea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AFB30D4-8778-4F88-BB07-5D9FDB96A09F}"/>
              </a:ext>
            </a:extLst>
          </p:cNvPr>
          <p:cNvSpPr txBox="1">
            <a:spLocks/>
          </p:cNvSpPr>
          <p:nvPr/>
        </p:nvSpPr>
        <p:spPr>
          <a:xfrm>
            <a:off x="5626265" y="3759203"/>
            <a:ext cx="303647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en-US" sz="2000" b="1" kern="1200" dirty="0">
                <a:solidFill>
                  <a:schemeClr val="bg2"/>
                </a:solidFill>
                <a:latin typeface="Raleway" pitchFamily="2" charset="-52"/>
                <a:ea typeface="+mn-ea"/>
              </a:rPr>
              <a:t>Increases speed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Raleway" pitchFamily="2" charset="-52"/>
              <a:ea typeface="+mn-ea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09C3CF4-4A7F-4F8C-887E-33A957925197}"/>
              </a:ext>
            </a:extLst>
          </p:cNvPr>
          <p:cNvGrpSpPr/>
          <p:nvPr/>
        </p:nvGrpSpPr>
        <p:grpSpPr>
          <a:xfrm>
            <a:off x="6581444" y="1146125"/>
            <a:ext cx="2081293" cy="184666"/>
            <a:chOff x="6576335" y="1270411"/>
            <a:chExt cx="2081293" cy="184666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BCDF8338-0ABD-44C4-BE7B-F71DF89213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76335" y="1270411"/>
              <a:ext cx="184666" cy="184666"/>
            </a:xfrm>
            <a:prstGeom prst="ellipse">
              <a:avLst/>
            </a:prstGeom>
            <a:solidFill>
              <a:schemeClr val="accent3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Raleway" pitchFamily="2" charset="-52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8796CDA4-5B8E-40E2-B164-7AB39871CE9D}"/>
                </a:ext>
              </a:extLst>
            </p:cNvPr>
            <p:cNvSpPr txBox="1">
              <a:spLocks/>
            </p:cNvSpPr>
            <p:nvPr/>
          </p:nvSpPr>
          <p:spPr>
            <a:xfrm>
              <a:off x="6790516" y="1270411"/>
              <a:ext cx="1867112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6pPr>
              <a:lvl7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7pPr>
              <a:lvl8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8pPr>
              <a:lvl9pPr marL="914400" indent="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None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aleway" pitchFamily="2" charset="-52"/>
                  <a:ea typeface="+mn-ea"/>
                </a:rPr>
                <a:t>Focus of the presentation</a:t>
              </a:r>
            </a:p>
          </p:txBody>
        </p:sp>
      </p:grpSp>
      <p:pic>
        <p:nvPicPr>
          <p:cNvPr id="5" name="Graphic 4" descr="Subtitles RTL">
            <a:extLst>
              <a:ext uri="{FF2B5EF4-FFF2-40B4-BE49-F238E27FC236}">
                <a16:creationId xmlns:a16="http://schemas.microsoft.com/office/drawing/2014/main" id="{CA2E047A-EA22-8690-00CD-8599303B1B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1888" y="1562611"/>
            <a:ext cx="676740" cy="676740"/>
          </a:xfrm>
          <a:prstGeom prst="rect">
            <a:avLst/>
          </a:prstGeom>
        </p:spPr>
      </p:pic>
      <p:pic>
        <p:nvPicPr>
          <p:cNvPr id="7" name="Graphic 6" descr="Classroom">
            <a:extLst>
              <a:ext uri="{FF2B5EF4-FFF2-40B4-BE49-F238E27FC236}">
                <a16:creationId xmlns:a16="http://schemas.microsoft.com/office/drawing/2014/main" id="{FA7DA1F4-9A89-4A51-C099-C44E048416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2513" y="2578625"/>
            <a:ext cx="618768" cy="618768"/>
          </a:xfrm>
          <a:prstGeom prst="rect">
            <a:avLst/>
          </a:prstGeom>
        </p:spPr>
      </p:pic>
      <p:pic>
        <p:nvPicPr>
          <p:cNvPr id="11" name="Graphic 10" descr="Add">
            <a:extLst>
              <a:ext uri="{FF2B5EF4-FFF2-40B4-BE49-F238E27FC236}">
                <a16:creationId xmlns:a16="http://schemas.microsoft.com/office/drawing/2014/main" id="{E628555A-1899-DCD3-FBEA-10A3735F80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94087" y="1526927"/>
            <a:ext cx="676740" cy="676740"/>
          </a:xfrm>
          <a:prstGeom prst="rect">
            <a:avLst/>
          </a:prstGeom>
        </p:spPr>
      </p:pic>
      <p:pic>
        <p:nvPicPr>
          <p:cNvPr id="15" name="Graphic 14" descr="Ruler">
            <a:extLst>
              <a:ext uri="{FF2B5EF4-FFF2-40B4-BE49-F238E27FC236}">
                <a16:creationId xmlns:a16="http://schemas.microsoft.com/office/drawing/2014/main" id="{39DC8D7B-102C-8C12-BBBA-9FD2603816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42213" y="2609606"/>
            <a:ext cx="579182" cy="579182"/>
          </a:xfrm>
          <a:prstGeom prst="rect">
            <a:avLst/>
          </a:prstGeom>
        </p:spPr>
      </p:pic>
      <p:pic>
        <p:nvPicPr>
          <p:cNvPr id="17" name="Graphic 16" descr="Gauge">
            <a:extLst>
              <a:ext uri="{FF2B5EF4-FFF2-40B4-BE49-F238E27FC236}">
                <a16:creationId xmlns:a16="http://schemas.microsoft.com/office/drawing/2014/main" id="{ACFBAFB7-B364-9026-171F-8C366258899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693434" y="3522672"/>
            <a:ext cx="676740" cy="676740"/>
          </a:xfrm>
          <a:prstGeom prst="rect">
            <a:avLst/>
          </a:prstGeom>
        </p:spPr>
      </p:pic>
      <p:pic>
        <p:nvPicPr>
          <p:cNvPr id="19" name="Graphic 18" descr="Checkmark">
            <a:extLst>
              <a:ext uri="{FF2B5EF4-FFF2-40B4-BE49-F238E27FC236}">
                <a16:creationId xmlns:a16="http://schemas.microsoft.com/office/drawing/2014/main" id="{FF7A5E38-0681-4D3A-A2AF-5AC285913C6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10514" y="3626771"/>
            <a:ext cx="676740" cy="676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914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E69495-0115-6758-F60A-C57BEA80D48B}"/>
              </a:ext>
            </a:extLst>
          </p:cNvPr>
          <p:cNvSpPr/>
          <p:nvPr/>
        </p:nvSpPr>
        <p:spPr>
          <a:xfrm>
            <a:off x="3613807" y="452"/>
            <a:ext cx="936887" cy="51435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Google Shape;50;p2"/>
          <p:cNvSpPr txBox="1"/>
          <p:nvPr/>
        </p:nvSpPr>
        <p:spPr>
          <a:xfrm>
            <a:off x="535841" y="896016"/>
            <a:ext cx="257190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Quattrocento Sans"/>
              <a:buNone/>
            </a:pPr>
            <a:r>
              <a:rPr lang="en-US" sz="32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xampl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1F748EA-24DD-A485-48DD-1849BBC80C0D}"/>
              </a:ext>
            </a:extLst>
          </p:cNvPr>
          <p:cNvGrpSpPr/>
          <p:nvPr/>
        </p:nvGrpSpPr>
        <p:grpSpPr>
          <a:xfrm>
            <a:off x="1099260" y="1955130"/>
            <a:ext cx="6911765" cy="2406650"/>
            <a:chOff x="1099260" y="1955130"/>
            <a:chExt cx="6911765" cy="240665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578ACF94-DE1F-9466-2579-FEC516051336}"/>
                </a:ext>
              </a:extLst>
            </p:cNvPr>
            <p:cNvSpPr txBox="1"/>
            <p:nvPr/>
          </p:nvSpPr>
          <p:spPr>
            <a:xfrm>
              <a:off x="1099260" y="2004459"/>
              <a:ext cx="3418932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Input</a:t>
              </a:r>
            </a:p>
            <a:p>
              <a:endParaRPr lang="en-US" b="1" dirty="0"/>
            </a:p>
            <a:p>
              <a:r>
                <a:rPr lang="en-US" b="1" dirty="0">
                  <a:solidFill>
                    <a:schemeClr val="tx2"/>
                  </a:solidFill>
                  <a:latin typeface="Consolas"/>
                </a:rPr>
                <a:t>“Write a function that computes the maximum value of three integers”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103EAC7-3426-8DA4-BFAA-935DF6DB81D9}"/>
                </a:ext>
              </a:extLst>
            </p:cNvPr>
            <p:cNvSpPr txBox="1"/>
            <p:nvPr/>
          </p:nvSpPr>
          <p:spPr>
            <a:xfrm>
              <a:off x="4653679" y="2004459"/>
              <a:ext cx="3166251" cy="2031325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r>
                <a:rPr lang="en-US" b="1" dirty="0">
                  <a:solidFill>
                    <a:schemeClr val="bg2"/>
                  </a:solidFill>
                </a:rPr>
                <a:t>Output</a:t>
              </a:r>
            </a:p>
            <a:p>
              <a:endParaRPr lang="en-US" dirty="0"/>
            </a:p>
            <a:p>
              <a:r>
                <a:rPr lang="en-US" b="1" dirty="0">
                  <a:latin typeface="Consolas"/>
                </a:rPr>
                <a:t>def maximum(num1, num2, num3):</a:t>
              </a:r>
            </a:p>
            <a:p>
              <a:r>
                <a:rPr lang="en-US" b="1" dirty="0">
                  <a:latin typeface="Consolas"/>
                </a:rPr>
                <a:t>    max = num1</a:t>
              </a:r>
            </a:p>
            <a:p>
              <a:r>
                <a:rPr lang="en-US" b="1" dirty="0">
                  <a:latin typeface="Consolas"/>
                </a:rPr>
                <a:t>    if num2 &gt; max:</a:t>
              </a:r>
            </a:p>
            <a:p>
              <a:r>
                <a:rPr lang="en-US" b="1" dirty="0">
                  <a:latin typeface="Consolas"/>
                </a:rPr>
                <a:t>        max = num2</a:t>
              </a:r>
            </a:p>
            <a:p>
              <a:r>
                <a:rPr lang="en-US" b="1" dirty="0">
                  <a:latin typeface="Consolas"/>
                </a:rPr>
                <a:t>    </a:t>
              </a:r>
              <a:r>
                <a:rPr lang="en-US" b="1" dirty="0" err="1">
                  <a:latin typeface="Consolas"/>
                </a:rPr>
                <a:t>elif</a:t>
              </a:r>
              <a:r>
                <a:rPr lang="en-US" b="1" dirty="0">
                  <a:latin typeface="Consolas"/>
                </a:rPr>
                <a:t> num3 &gt; max:</a:t>
              </a:r>
            </a:p>
            <a:p>
              <a:r>
                <a:rPr lang="en-US" b="1" dirty="0">
                  <a:latin typeface="Consolas"/>
                </a:rPr>
                <a:t>        max = num3</a:t>
              </a:r>
            </a:p>
            <a:p>
              <a:r>
                <a:rPr lang="en-US" b="1" dirty="0">
                  <a:latin typeface="Consolas"/>
                </a:rPr>
                <a:t>    return max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4E7FC39-54B0-E044-2387-2FC375C17BDC}"/>
                </a:ext>
              </a:extLst>
            </p:cNvPr>
            <p:cNvSpPr/>
            <p:nvPr/>
          </p:nvSpPr>
          <p:spPr>
            <a:xfrm>
              <a:off x="4561972" y="1955131"/>
              <a:ext cx="3449053" cy="421105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1DA1F5D-3D61-6CE3-A147-79A029147FED}"/>
                </a:ext>
              </a:extLst>
            </p:cNvPr>
            <p:cNvSpPr/>
            <p:nvPr/>
          </p:nvSpPr>
          <p:spPr>
            <a:xfrm>
              <a:off x="4521867" y="1955131"/>
              <a:ext cx="3489158" cy="421105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144DDBC-B0A2-F70A-9FB9-A2D5CAF94D27}"/>
                </a:ext>
              </a:extLst>
            </p:cNvPr>
            <p:cNvSpPr/>
            <p:nvPr/>
          </p:nvSpPr>
          <p:spPr>
            <a:xfrm>
              <a:off x="4521866" y="1955131"/>
              <a:ext cx="3489158" cy="2406315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241176A-455A-6752-F0D8-27DCF9B0BC57}"/>
                </a:ext>
              </a:extLst>
            </p:cNvPr>
            <p:cNvSpPr/>
            <p:nvPr/>
          </p:nvSpPr>
          <p:spPr>
            <a:xfrm>
              <a:off x="1102894" y="1955131"/>
              <a:ext cx="3459079" cy="42110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F812758-84A0-5300-A9F8-937536B1A2A2}"/>
                </a:ext>
              </a:extLst>
            </p:cNvPr>
            <p:cNvSpPr/>
            <p:nvPr/>
          </p:nvSpPr>
          <p:spPr>
            <a:xfrm>
              <a:off x="1102893" y="1955130"/>
              <a:ext cx="3459079" cy="240631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CD1B910-84EB-4EA5-E406-2BEE0000EB86}"/>
                </a:ext>
              </a:extLst>
            </p:cNvPr>
            <p:cNvCxnSpPr/>
            <p:nvPr/>
          </p:nvCxnSpPr>
          <p:spPr>
            <a:xfrm>
              <a:off x="4548904" y="1955130"/>
              <a:ext cx="82550" cy="0"/>
            </a:xfrm>
            <a:prstGeom prst="line">
              <a:avLst/>
            </a:prstGeom>
            <a:ln w="2413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557183C-C91E-4C60-2CCD-A9BE6CC481BC}"/>
                </a:ext>
              </a:extLst>
            </p:cNvPr>
            <p:cNvCxnSpPr/>
            <p:nvPr/>
          </p:nvCxnSpPr>
          <p:spPr>
            <a:xfrm>
              <a:off x="4548904" y="2374755"/>
              <a:ext cx="82550" cy="0"/>
            </a:xfrm>
            <a:prstGeom prst="line">
              <a:avLst/>
            </a:prstGeom>
            <a:ln w="2413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A363B11-F522-AED1-D228-611656C75885}"/>
                </a:ext>
              </a:extLst>
            </p:cNvPr>
            <p:cNvCxnSpPr/>
            <p:nvPr/>
          </p:nvCxnSpPr>
          <p:spPr>
            <a:xfrm>
              <a:off x="4549775" y="4361780"/>
              <a:ext cx="82550" cy="0"/>
            </a:xfrm>
            <a:prstGeom prst="line">
              <a:avLst/>
            </a:prstGeom>
            <a:ln w="2413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98150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amp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E134A9-5D60-0B45-7A66-BDB49FB760D0}"/>
              </a:ext>
            </a:extLst>
          </p:cNvPr>
          <p:cNvSpPr txBox="1"/>
          <p:nvPr/>
        </p:nvSpPr>
        <p:spPr>
          <a:xfrm>
            <a:off x="452387" y="1157672"/>
            <a:ext cx="28007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itHub copilot: 2:20 minute mark</a:t>
            </a:r>
          </a:p>
        </p:txBody>
      </p:sp>
      <p:pic>
        <p:nvPicPr>
          <p:cNvPr id="5" name="Online Media 4" descr="How To Use GitHub Copilot (with Python Examples)">
            <a:hlinkClick r:id="" action="ppaction://media"/>
            <a:extLst>
              <a:ext uri="{FF2B5EF4-FFF2-40B4-BE49-F238E27FC236}">
                <a16:creationId xmlns:a16="http://schemas.microsoft.com/office/drawing/2014/main" id="{44632DB6-C57D-663A-650C-B991F461D2AD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6"/>
          <a:stretch>
            <a:fillRect/>
          </a:stretch>
        </p:blipFill>
        <p:spPr>
          <a:xfrm>
            <a:off x="1700367" y="1604093"/>
            <a:ext cx="5743266" cy="3244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14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17"/>
          <p:cNvSpPr txBox="1"/>
          <p:nvPr/>
        </p:nvSpPr>
        <p:spPr>
          <a:xfrm>
            <a:off x="452387" y="1277938"/>
            <a:ext cx="1042287" cy="18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Mode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03" name="Google Shape;503;p17"/>
          <p:cNvCxnSpPr/>
          <p:nvPr/>
        </p:nvCxnSpPr>
        <p:spPr>
          <a:xfrm>
            <a:off x="452386" y="1492250"/>
            <a:ext cx="8210351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04" name="Google Shape;504;p17"/>
          <p:cNvCxnSpPr/>
          <p:nvPr/>
        </p:nvCxnSpPr>
        <p:spPr>
          <a:xfrm>
            <a:off x="452386" y="2600709"/>
            <a:ext cx="8210351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5" name="Google Shape;505;p17"/>
          <p:cNvGrpSpPr/>
          <p:nvPr/>
        </p:nvGrpSpPr>
        <p:grpSpPr>
          <a:xfrm>
            <a:off x="1810972" y="1249387"/>
            <a:ext cx="3576642" cy="3536519"/>
            <a:chOff x="1820059" y="1249387"/>
            <a:chExt cx="2496150" cy="3536519"/>
          </a:xfrm>
        </p:grpSpPr>
        <p:sp>
          <p:nvSpPr>
            <p:cNvPr id="506" name="Google Shape;506;p17"/>
            <p:cNvSpPr txBox="1"/>
            <p:nvPr/>
          </p:nvSpPr>
          <p:spPr>
            <a:xfrm>
              <a:off x="1841051" y="1249387"/>
              <a:ext cx="2468880" cy="2142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chemeClr val="dk2"/>
                  </a:solidFill>
                </a:rPr>
                <a:t>Characteristic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7" name="Google Shape;507;p17"/>
            <p:cNvSpPr txBox="1"/>
            <p:nvPr/>
          </p:nvSpPr>
          <p:spPr>
            <a:xfrm>
              <a:off x="1847329" y="1643202"/>
              <a:ext cx="2468880" cy="7736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285750" indent="-285750">
                <a:lnSpc>
                  <a:spcPts val="1680"/>
                </a:lnSpc>
                <a:buClr>
                  <a:srgbClr val="EB5600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Multiple connected layers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Exploding/diminishing gradient problems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Computationally demanding</a:t>
              </a:r>
            </a:p>
            <a:p>
              <a:pPr marL="285750" indent="-209550">
                <a:lnSpc>
                  <a:spcPts val="1680"/>
                </a:lnSpc>
                <a:buClr>
                  <a:schemeClr val="accent3"/>
                </a:buClr>
                <a:buSzPts val="1200"/>
              </a:pPr>
              <a:endParaRPr lang="en-US" sz="1200" dirty="0">
                <a:solidFill>
                  <a:schemeClr val="dk2"/>
                </a:solidFill>
              </a:endParaRPr>
            </a:p>
          </p:txBody>
        </p:sp>
        <p:sp>
          <p:nvSpPr>
            <p:cNvPr id="508" name="Google Shape;508;p17"/>
            <p:cNvSpPr txBox="1"/>
            <p:nvPr/>
          </p:nvSpPr>
          <p:spPr>
            <a:xfrm>
              <a:off x="1830599" y="2814008"/>
              <a:ext cx="2468880" cy="21428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Bidirectional context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Attention layer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Lacks a decoder</a:t>
              </a:r>
              <a:endParaRPr lang="en-US" dirty="0">
                <a:solidFill>
                  <a:schemeClr val="dk2"/>
                </a:solidFill>
              </a:endParaRPr>
            </a:p>
          </p:txBody>
        </p:sp>
        <p:sp>
          <p:nvSpPr>
            <p:cNvPr id="509" name="Google Shape;509;p17"/>
            <p:cNvSpPr txBox="1"/>
            <p:nvPr/>
          </p:nvSpPr>
          <p:spPr>
            <a:xfrm>
              <a:off x="1820059" y="3939960"/>
              <a:ext cx="2482874" cy="84594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Attention layer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Encoder and decoder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Capable of handling long sequence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DB9D885-1E08-F44A-8E9C-945A5F8B2844}"/>
              </a:ext>
            </a:extLst>
          </p:cNvPr>
          <p:cNvGrpSpPr/>
          <p:nvPr/>
        </p:nvGrpSpPr>
        <p:grpSpPr>
          <a:xfrm>
            <a:off x="452386" y="1561678"/>
            <a:ext cx="1259007" cy="947554"/>
            <a:chOff x="452386" y="1561678"/>
            <a:chExt cx="1259007" cy="947554"/>
          </a:xfrm>
        </p:grpSpPr>
        <p:sp>
          <p:nvSpPr>
            <p:cNvPr id="510" name="Google Shape;510;p17"/>
            <p:cNvSpPr/>
            <p:nvPr/>
          </p:nvSpPr>
          <p:spPr>
            <a:xfrm>
              <a:off x="452386" y="1561678"/>
              <a:ext cx="1259007" cy="947554"/>
            </a:xfrm>
            <a:prstGeom prst="rect">
              <a:avLst/>
            </a:prstGeom>
            <a:solidFill>
              <a:srgbClr val="FEDBC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4" name="Google Shape;514;p17"/>
            <p:cNvSpPr txBox="1"/>
            <p:nvPr/>
          </p:nvSpPr>
          <p:spPr>
            <a:xfrm>
              <a:off x="452388" y="1609302"/>
              <a:ext cx="1252794" cy="2357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91440" indent="-91440">
                <a:buClr>
                  <a:schemeClr val="dk1"/>
                </a:buClr>
                <a:buSzPts val="1600"/>
                <a:buFont typeface="Quattrocento Sans"/>
                <a:buChar char="​"/>
              </a:pPr>
              <a:r>
                <a:rPr lang="en-US" sz="1600" b="1" dirty="0">
                  <a:solidFill>
                    <a:schemeClr val="accent3"/>
                  </a:solidFill>
                </a:rPr>
                <a:t>RNN</a:t>
              </a:r>
              <a:endParaRPr lang="en-US" sz="1600" b="1" i="0" u="none" strike="noStrike" cap="none" dirty="0">
                <a:solidFill>
                  <a:schemeClr val="accent3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0AB7E1E-9795-1927-4702-A4DABF1D3CE0}"/>
              </a:ext>
            </a:extLst>
          </p:cNvPr>
          <p:cNvGrpSpPr/>
          <p:nvPr/>
        </p:nvGrpSpPr>
        <p:grpSpPr>
          <a:xfrm>
            <a:off x="452386" y="2708782"/>
            <a:ext cx="1259007" cy="947557"/>
            <a:chOff x="452386" y="2635831"/>
            <a:chExt cx="1259007" cy="947557"/>
          </a:xfrm>
        </p:grpSpPr>
        <p:sp>
          <p:nvSpPr>
            <p:cNvPr id="511" name="Google Shape;511;p17"/>
            <p:cNvSpPr/>
            <p:nvPr/>
          </p:nvSpPr>
          <p:spPr>
            <a:xfrm>
              <a:off x="452386" y="2635831"/>
              <a:ext cx="1259007" cy="947557"/>
            </a:xfrm>
            <a:prstGeom prst="rect">
              <a:avLst/>
            </a:prstGeom>
            <a:solidFill>
              <a:srgbClr val="FEDBC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5" name="Google Shape;515;p17"/>
            <p:cNvSpPr txBox="1"/>
            <p:nvPr/>
          </p:nvSpPr>
          <p:spPr>
            <a:xfrm>
              <a:off x="452386" y="2688109"/>
              <a:ext cx="1252794" cy="2357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91440" marR="0" lvl="0" indent="-9144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Quattrocento Sans"/>
                <a:buChar char="​"/>
              </a:pPr>
              <a:r>
                <a:rPr lang="en-US" sz="1600" b="1" i="0" u="none" strike="noStrike" cap="none" dirty="0">
                  <a:solidFill>
                    <a:schemeClr val="accent3"/>
                  </a:solidFill>
                  <a:latin typeface="Arial"/>
                  <a:ea typeface="Arial"/>
                  <a:cs typeface="Arial"/>
                  <a:sym typeface="Arial"/>
                </a:rPr>
                <a:t>BERT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16" name="Google Shape;516;p17"/>
          <p:cNvSpPr/>
          <p:nvPr/>
        </p:nvSpPr>
        <p:spPr>
          <a:xfrm>
            <a:off x="1705181" y="1561822"/>
            <a:ext cx="120893" cy="82113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C0E2DDC-165B-55CF-4128-A805530B81E5}"/>
              </a:ext>
            </a:extLst>
          </p:cNvPr>
          <p:cNvGrpSpPr/>
          <p:nvPr/>
        </p:nvGrpSpPr>
        <p:grpSpPr>
          <a:xfrm>
            <a:off x="452386" y="3855888"/>
            <a:ext cx="1259007" cy="938150"/>
            <a:chOff x="452386" y="3709986"/>
            <a:chExt cx="1259007" cy="938150"/>
          </a:xfrm>
        </p:grpSpPr>
        <p:sp>
          <p:nvSpPr>
            <p:cNvPr id="517" name="Google Shape;517;p17"/>
            <p:cNvSpPr/>
            <p:nvPr/>
          </p:nvSpPr>
          <p:spPr>
            <a:xfrm>
              <a:off x="452386" y="3709986"/>
              <a:ext cx="1259007" cy="938150"/>
            </a:xfrm>
            <a:prstGeom prst="rect">
              <a:avLst/>
            </a:prstGeom>
            <a:solidFill>
              <a:srgbClr val="FEDBC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9" name="Google Shape;519;p17"/>
            <p:cNvSpPr txBox="1"/>
            <p:nvPr/>
          </p:nvSpPr>
          <p:spPr>
            <a:xfrm>
              <a:off x="452386" y="3755344"/>
              <a:ext cx="1252794" cy="2357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91440" marR="0" lvl="0" indent="-9144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Quattrocento Sans"/>
                <a:buChar char="​"/>
              </a:pPr>
              <a:r>
                <a:rPr lang="en-US" sz="1600" b="1" i="0" u="none" strike="noStrike" cap="none" dirty="0">
                  <a:solidFill>
                    <a:schemeClr val="accent3"/>
                  </a:solidFill>
                  <a:latin typeface="Arial"/>
                  <a:ea typeface="Arial"/>
                  <a:cs typeface="Arial"/>
                  <a:sym typeface="Arial"/>
                </a:rPr>
                <a:t>GPT</a:t>
              </a: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522" name="Google Shape;522;p17"/>
          <p:cNvCxnSpPr/>
          <p:nvPr/>
        </p:nvCxnSpPr>
        <p:spPr>
          <a:xfrm>
            <a:off x="451277" y="3755344"/>
            <a:ext cx="8210351" cy="0"/>
          </a:xfrm>
          <a:prstGeom prst="straightConnector1">
            <a:avLst/>
          </a:prstGeom>
          <a:noFill/>
          <a:ln w="12700" cap="flat" cmpd="sng">
            <a:solidFill>
              <a:srgbClr val="A5A5A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3" name="Google Shape;523;p17"/>
          <p:cNvGrpSpPr/>
          <p:nvPr/>
        </p:nvGrpSpPr>
        <p:grpSpPr>
          <a:xfrm>
            <a:off x="5508505" y="1251638"/>
            <a:ext cx="3163149" cy="3534267"/>
            <a:chOff x="4483100" y="1249388"/>
            <a:chExt cx="4179637" cy="3534267"/>
          </a:xfrm>
        </p:grpSpPr>
        <p:sp>
          <p:nvSpPr>
            <p:cNvPr id="524" name="Google Shape;524;p17"/>
            <p:cNvSpPr txBox="1"/>
            <p:nvPr/>
          </p:nvSpPr>
          <p:spPr>
            <a:xfrm>
              <a:off x="4483100" y="1249388"/>
              <a:ext cx="4179637" cy="214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/>
                <a:t>Applications</a:t>
              </a:r>
              <a:endParaRPr sz="18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5" name="Google Shape;525;p17"/>
            <p:cNvSpPr txBox="1"/>
            <p:nvPr/>
          </p:nvSpPr>
          <p:spPr>
            <a:xfrm>
              <a:off x="4483100" y="1639855"/>
              <a:ext cx="4179637" cy="7293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Time-series forecasting</a:t>
              </a:r>
              <a:endParaRPr lang="en-US" sz="12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</a:endParaRP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Text generation</a:t>
              </a:r>
              <a:endParaRPr lang="en-US" sz="12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</a:endParaRP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Machine Translation</a:t>
              </a:r>
              <a:endParaRPr lang="en-US" sz="12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526" name="Google Shape;526;p17"/>
            <p:cNvSpPr txBox="1"/>
            <p:nvPr/>
          </p:nvSpPr>
          <p:spPr>
            <a:xfrm>
              <a:off x="4483100" y="2816769"/>
              <a:ext cx="4179637" cy="21428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Question answering</a:t>
              </a:r>
              <a:endParaRPr lang="en-US" sz="12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</a:endParaRP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Sentence prediction</a:t>
              </a:r>
              <a:endParaRPr lang="en-US" sz="12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</a:endParaRP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Document classification</a:t>
              </a:r>
              <a:endParaRPr lang="en-US" sz="1200" b="0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527" name="Google Shape;527;p17"/>
            <p:cNvSpPr txBox="1"/>
            <p:nvPr/>
          </p:nvSpPr>
          <p:spPr>
            <a:xfrm>
              <a:off x="4483100" y="3937710"/>
              <a:ext cx="4166389" cy="8459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Sentence prediction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Document summarization</a:t>
              </a:r>
            </a:p>
            <a:p>
              <a:pPr marL="285750" indent="-285750">
                <a:lnSpc>
                  <a:spcPts val="1680"/>
                </a:lnSpc>
                <a:buClr>
                  <a:schemeClr val="accent3"/>
                </a:buClr>
                <a:buSzPts val="1200"/>
                <a:buFont typeface="Noto Sans Symbols"/>
                <a:buChar char="▪"/>
              </a:pPr>
              <a:r>
                <a:rPr lang="en-US" sz="1200" dirty="0">
                  <a:solidFill>
                    <a:schemeClr val="dk2"/>
                  </a:solidFill>
                </a:rPr>
                <a:t>Text generation</a:t>
              </a: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C4EDA9A6-8CD6-80C4-D212-19F089174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odel structure pt. 1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0D4E07-E4D6-77ED-8CF7-02E60BC75D88}"/>
              </a:ext>
            </a:extLst>
          </p:cNvPr>
          <p:cNvCxnSpPr>
            <a:cxnSpLocks/>
          </p:cNvCxnSpPr>
          <p:nvPr/>
        </p:nvCxnSpPr>
        <p:spPr>
          <a:xfrm flipH="1">
            <a:off x="1708477" y="2335336"/>
            <a:ext cx="1" cy="1799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7F0C59-9E78-4313-98C7-7381DD6D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7F0C59-9E78-4313-98C7-7381DD6D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8B2E53-7DBD-4E11-BED2-19EDA721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387" y="349462"/>
            <a:ext cx="8210350" cy="535200"/>
          </a:xfrm>
        </p:spPr>
        <p:txBody>
          <a:bodyPr vert="horz" lIns="0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odel structure pt. 2</a:t>
            </a:r>
          </a:p>
        </p:txBody>
      </p:sp>
      <p:pic>
        <p:nvPicPr>
          <p:cNvPr id="1026" name="Picture 2" descr="Vision Transformer Model Architecture">
            <a:extLst>
              <a:ext uri="{FF2B5EF4-FFF2-40B4-BE49-F238E27FC236}">
                <a16:creationId xmlns:a16="http://schemas.microsoft.com/office/drawing/2014/main" id="{D119511D-1196-1615-6132-74D57EDC2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06" y="1394408"/>
            <a:ext cx="4127154" cy="3006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6A97914-6178-A7DF-CA68-9CA306602102}"/>
              </a:ext>
            </a:extLst>
          </p:cNvPr>
          <p:cNvCxnSpPr/>
          <p:nvPr/>
        </p:nvCxnSpPr>
        <p:spPr>
          <a:xfrm>
            <a:off x="4509437" y="1148156"/>
            <a:ext cx="0" cy="3499471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F0F002A-8F34-8E06-FB15-2A3FE2A04697}"/>
              </a:ext>
            </a:extLst>
          </p:cNvPr>
          <p:cNvSpPr txBox="1"/>
          <p:nvPr/>
        </p:nvSpPr>
        <p:spPr>
          <a:xfrm>
            <a:off x="4970767" y="1394408"/>
            <a:ext cx="3691970" cy="278537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/>
              <a:t>Encoder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ncodes textual input </a:t>
            </a:r>
            <a:r>
              <a:rPr lang="en-US" dirty="0"/>
              <a:t>into </a:t>
            </a:r>
            <a:r>
              <a:rPr lang="en-US"/>
              <a:t>a </a:t>
            </a:r>
            <a:r>
              <a:rPr lang="en-US" dirty="0"/>
              <a:t>numeric </a:t>
            </a:r>
            <a:r>
              <a:rPr lang="en-US"/>
              <a:t>vector sp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his space is then learned by </a:t>
            </a:r>
            <a:r>
              <a:rPr lang="en-US" dirty="0"/>
              <a:t>the model </a:t>
            </a:r>
            <a:r>
              <a:rPr lang="en-US"/>
              <a:t>through the </a:t>
            </a:r>
            <a:r>
              <a:rPr lang="en-US" dirty="0"/>
              <a:t>training </a:t>
            </a:r>
            <a:r>
              <a:rPr lang="en-US"/>
              <a:t>process</a:t>
            </a:r>
            <a:endParaRPr lang="en-US" dirty="0"/>
          </a:p>
          <a:p>
            <a:r>
              <a:rPr lang="en-US" sz="600">
                <a:solidFill>
                  <a:schemeClr val="bg1"/>
                </a:solidFill>
              </a:rPr>
              <a:t>a</a:t>
            </a:r>
            <a:endParaRPr lang="en-US">
              <a:solidFill>
                <a:schemeClr val="bg1"/>
              </a:solidFill>
            </a:endParaRPr>
          </a:p>
          <a:p>
            <a:r>
              <a:rPr lang="en-US" b="1"/>
              <a:t>Deco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ecodes learned representations into textual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Paired with the Encoder, allows us to start and end with text, creating </a:t>
            </a:r>
            <a:r>
              <a:rPr lang="en-US" dirty="0"/>
              <a:t>a </a:t>
            </a:r>
            <a:r>
              <a:rPr lang="en-US"/>
              <a:t>model suitable for text generation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B60B824-589E-83C9-6684-26AFAAC625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113" y="1457540"/>
            <a:ext cx="712918" cy="712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035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9</TotalTime>
  <Words>1263</Words>
  <Application>Microsoft Macintosh PowerPoint</Application>
  <PresentationFormat>On-screen Show (16:9)</PresentationFormat>
  <Paragraphs>272</Paragraphs>
  <Slides>22</Slides>
  <Notes>12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Segoe UI</vt:lpstr>
      <vt:lpstr>Fira Sans Extra Condensed</vt:lpstr>
      <vt:lpstr>Lato</vt:lpstr>
      <vt:lpstr>Courier New</vt:lpstr>
      <vt:lpstr>Consolas</vt:lpstr>
      <vt:lpstr>Arial</vt:lpstr>
      <vt:lpstr>Noto Sans Symbols</vt:lpstr>
      <vt:lpstr>Raleway</vt:lpstr>
      <vt:lpstr>Quattrocento Sans</vt:lpstr>
      <vt:lpstr>Streamline</vt:lpstr>
      <vt:lpstr>think-cell Slide</vt:lpstr>
      <vt:lpstr>Python Script Generation</vt:lpstr>
      <vt:lpstr>PowerPoint Presentation</vt:lpstr>
      <vt:lpstr>PowerPoint Presentation</vt:lpstr>
      <vt:lpstr>PowerPoint Presentation</vt:lpstr>
      <vt:lpstr>Use cases</vt:lpstr>
      <vt:lpstr>PowerPoint Presentation</vt:lpstr>
      <vt:lpstr>Sample</vt:lpstr>
      <vt:lpstr>Model structure pt. 1</vt:lpstr>
      <vt:lpstr>Model structure pt. 2</vt:lpstr>
      <vt:lpstr>Progress pt. 1 </vt:lpstr>
      <vt:lpstr>Progress pt. 2</vt:lpstr>
      <vt:lpstr>Progress pt. 3</vt:lpstr>
      <vt:lpstr>Progress pt. 4</vt:lpstr>
      <vt:lpstr>Progress pt. 5.1</vt:lpstr>
      <vt:lpstr>Progress pt. 5.2</vt:lpstr>
      <vt:lpstr>PowerPoint Presentation</vt:lpstr>
      <vt:lpstr>Progress pt. 6.1</vt:lpstr>
      <vt:lpstr>Progress pt. 6.2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ython Script Generation</dc:title>
  <cp:lastModifiedBy>eduardo armenta</cp:lastModifiedBy>
  <cp:revision>24</cp:revision>
  <dcterms:modified xsi:type="dcterms:W3CDTF">2022-12-01T19:39:35Z</dcterms:modified>
</cp:coreProperties>
</file>